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Lst>
  <p:sldIdLst>
    <p:sldId id="256" r:id="rId2"/>
    <p:sldId id="258" r:id="rId3"/>
    <p:sldId id="259" r:id="rId4"/>
    <p:sldId id="266" r:id="rId5"/>
    <p:sldId id="263" r:id="rId6"/>
    <p:sldId id="276" r:id="rId7"/>
    <p:sldId id="277"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hyperlink" Target="1.3.pptx" TargetMode="External"/><Relationship Id="rId2" Type="http://schemas.openxmlformats.org/officeDocument/2006/relationships/hyperlink" Target="1.2.pptx" TargetMode="External"/><Relationship Id="rId1" Type="http://schemas.openxmlformats.org/officeDocument/2006/relationships/hyperlink" Target="1.1.pptx" TargetMode="External"/><Relationship Id="rId4" Type="http://schemas.openxmlformats.org/officeDocument/2006/relationships/hyperlink" Target="1.4.pptx"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7EBBB0-F827-46AE-9460-7FCC2F6528A1}"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GB"/>
        </a:p>
      </dgm:t>
    </dgm:pt>
    <dgm:pt modelId="{64B365FC-2005-4D04-B8CE-CB9C83E3DC4C}">
      <dgm:prSet phldrT="[Text]" custT="1"/>
      <dgm:spPr>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ar-IQ" sz="2000" dirty="0">
              <a:cs typeface="Ali_K_Samik" pitchFamily="2" charset="-78"/>
            </a:rPr>
            <a:t>هؤكارةكانى لةبيرضوونةوة</a:t>
          </a:r>
          <a:endParaRPr lang="en-GB" sz="2000" dirty="0">
            <a:cs typeface="Ali_K_Samik" pitchFamily="2" charset="-78"/>
          </a:endParaRPr>
        </a:p>
      </dgm:t>
    </dgm:pt>
    <dgm:pt modelId="{E66DE0E6-8C17-4351-B986-505277710E4A}" type="parTrans" cxnId="{F15B1C2D-507B-4C0D-9ED7-BDFF73FB12C4}">
      <dgm:prSet/>
      <dgm:spPr/>
      <dgm:t>
        <a:bodyPr/>
        <a:lstStyle/>
        <a:p>
          <a:endParaRPr lang="en-GB" sz="2000">
            <a:cs typeface="Ali_K_Samik" pitchFamily="2" charset="-78"/>
          </a:endParaRPr>
        </a:p>
      </dgm:t>
    </dgm:pt>
    <dgm:pt modelId="{2D77592B-18C3-4840-8B2C-57B14801CB2D}" type="sibTrans" cxnId="{F15B1C2D-507B-4C0D-9ED7-BDFF73FB12C4}">
      <dgm:prSet/>
      <dgm:spPr/>
      <dgm:t>
        <a:bodyPr/>
        <a:lstStyle/>
        <a:p>
          <a:endParaRPr lang="en-GB" sz="2000">
            <a:cs typeface="Ali_K_Samik" pitchFamily="2" charset="-78"/>
          </a:endParaRPr>
        </a:p>
      </dgm:t>
    </dgm:pt>
    <dgm:pt modelId="{D31C7B8C-8E9C-4228-8A51-6F8E3791E4FF}">
      <dgm:prSet phldrT="[Text]" custT="1"/>
      <dgm:spPr>
        <a:solidFill>
          <a:schemeClr val="accent6"/>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ar-IQ" sz="2000" dirty="0">
              <a:cs typeface="Ali_K_Samik" pitchFamily="2" charset="-78"/>
            </a:rPr>
            <a:t>ثوكانةوة زانيارى</a:t>
          </a:r>
          <a:endParaRPr lang="en-GB" sz="2000" dirty="0">
            <a:cs typeface="Ali_K_Samik" pitchFamily="2" charset="-78"/>
          </a:endParaRPr>
        </a:p>
      </dgm:t>
      <dgm:extLst>
        <a:ext uri="{E40237B7-FDA0-4F09-8148-C483321AD2D9}">
          <dgm14:cNvPr xmlns:dgm14="http://schemas.microsoft.com/office/drawing/2010/diagram" id="0" name="">
            <a:hlinkClick xmlns:r="http://schemas.openxmlformats.org/officeDocument/2006/relationships" r:id="rId1" action="ppaction://hlinkpres?slideindex=1&amp;slidetitle="/>
          </dgm14:cNvPr>
        </a:ext>
      </dgm:extLst>
    </dgm:pt>
    <dgm:pt modelId="{22EEE24F-E8FC-4632-9E98-298A6BD6240C}" type="parTrans" cxnId="{ED713414-4310-4669-A611-F16B43074A9A}">
      <dgm:prSet/>
      <dgm:spPr/>
      <dgm:t>
        <a:bodyPr/>
        <a:lstStyle/>
        <a:p>
          <a:endParaRPr lang="en-GB" sz="2000">
            <a:cs typeface="Ali_K_Samik" pitchFamily="2" charset="-78"/>
          </a:endParaRPr>
        </a:p>
      </dgm:t>
    </dgm:pt>
    <dgm:pt modelId="{86301C8B-4417-406C-997E-871E70C86CE9}" type="sibTrans" cxnId="{ED713414-4310-4669-A611-F16B43074A9A}">
      <dgm:prSet/>
      <dgm:spPr>
        <a:solidFill>
          <a:schemeClr val="accent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dgm:spPr>
      <dgm:t>
        <a:bodyPr/>
        <a:lstStyle/>
        <a:p>
          <a:endParaRPr lang="en-GB" sz="2000">
            <a:cs typeface="Ali_K_Samik" pitchFamily="2" charset="-78"/>
          </a:endParaRPr>
        </a:p>
      </dgm:t>
    </dgm:pt>
    <dgm:pt modelId="{F22F2028-4210-4DDB-98F4-EB7FC6F0156B}">
      <dgm:prSet phldrT="[Text]" custT="1"/>
      <dgm:spPr>
        <a:solidFill>
          <a:srgbClr val="C00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ar-IQ" sz="2000" dirty="0">
              <a:cs typeface="Ali_K_Samik" pitchFamily="2" charset="-78"/>
            </a:rPr>
            <a:t>تيَكةلاَو بوونى زانيارى</a:t>
          </a:r>
          <a:endParaRPr lang="en-GB" sz="2000" dirty="0">
            <a:cs typeface="Ali_K_Samik" pitchFamily="2" charset="-78"/>
          </a:endParaRPr>
        </a:p>
      </dgm:t>
      <dgm:extLst>
        <a:ext uri="{E40237B7-FDA0-4F09-8148-C483321AD2D9}">
          <dgm14:cNvPr xmlns:dgm14="http://schemas.microsoft.com/office/drawing/2010/diagram" id="0" name="">
            <a:hlinkClick xmlns:r="http://schemas.openxmlformats.org/officeDocument/2006/relationships" r:id="rId2" action="ppaction://hlinkpres?slideindex=1&amp;slidetitle="/>
          </dgm14:cNvPr>
        </a:ext>
      </dgm:extLst>
    </dgm:pt>
    <dgm:pt modelId="{1E2A7D03-7E54-41B0-9A3D-44B48643BC02}" type="parTrans" cxnId="{223FA937-F668-4EB3-AE8A-B0BCCBE740AF}">
      <dgm:prSet/>
      <dgm:spPr/>
      <dgm:t>
        <a:bodyPr/>
        <a:lstStyle/>
        <a:p>
          <a:endParaRPr lang="en-GB" sz="2000">
            <a:cs typeface="Ali_K_Samik" pitchFamily="2" charset="-78"/>
          </a:endParaRPr>
        </a:p>
      </dgm:t>
    </dgm:pt>
    <dgm:pt modelId="{F4A9BE7A-5488-43D7-9D40-141D4D5FF5D4}" type="sibTrans" cxnId="{223FA937-F668-4EB3-AE8A-B0BCCBE740AF}">
      <dgm:prSet/>
      <dgm:spPr>
        <a:solidFill>
          <a:schemeClr val="accent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dgm:spPr>
      <dgm:t>
        <a:bodyPr/>
        <a:lstStyle/>
        <a:p>
          <a:endParaRPr lang="en-GB" sz="2000">
            <a:cs typeface="Ali_K_Samik" pitchFamily="2" charset="-78"/>
          </a:endParaRPr>
        </a:p>
      </dgm:t>
    </dgm:pt>
    <dgm:pt modelId="{0941CF28-C145-4EF7-884C-B16FA2D5C41E}">
      <dgm:prSet phldrT="[Text]" custT="1"/>
      <dgm:spPr>
        <a:solidFill>
          <a:srgbClr val="00206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ar-IQ" sz="2000" dirty="0">
              <a:cs typeface="Ali_K_Samik" pitchFamily="2" charset="-78"/>
            </a:rPr>
            <a:t>ضةثاندنى زانيارى</a:t>
          </a:r>
          <a:endParaRPr lang="en-GB" sz="2000" dirty="0">
            <a:cs typeface="Ali_K_Samik" pitchFamily="2" charset="-78"/>
          </a:endParaRPr>
        </a:p>
      </dgm:t>
      <dgm:extLst>
        <a:ext uri="{E40237B7-FDA0-4F09-8148-C483321AD2D9}">
          <dgm14:cNvPr xmlns:dgm14="http://schemas.microsoft.com/office/drawing/2010/diagram" id="0" name="">
            <a:hlinkClick xmlns:r="http://schemas.openxmlformats.org/officeDocument/2006/relationships" r:id="rId3" action="ppaction://hlinkpres?slideindex=1&amp;slidetitle="/>
          </dgm14:cNvPr>
        </a:ext>
      </dgm:extLst>
    </dgm:pt>
    <dgm:pt modelId="{877A82F7-09F0-4CB2-B97F-ABC37A3F4C2D}" type="parTrans" cxnId="{7B1B328D-DF24-4107-8ED4-AA2A335688C7}">
      <dgm:prSet/>
      <dgm:spPr/>
      <dgm:t>
        <a:bodyPr/>
        <a:lstStyle/>
        <a:p>
          <a:endParaRPr lang="en-GB" sz="2000">
            <a:cs typeface="Ali_K_Samik" pitchFamily="2" charset="-78"/>
          </a:endParaRPr>
        </a:p>
      </dgm:t>
    </dgm:pt>
    <dgm:pt modelId="{F0581F28-CC63-4D73-A425-D75EDBE9B57B}" type="sibTrans" cxnId="{7B1B328D-DF24-4107-8ED4-AA2A335688C7}">
      <dgm:prSet/>
      <dgm:spPr>
        <a:solidFill>
          <a:schemeClr val="accent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dgm:spPr>
      <dgm:t>
        <a:bodyPr/>
        <a:lstStyle/>
        <a:p>
          <a:endParaRPr lang="en-GB" sz="2000">
            <a:cs typeface="Ali_K_Samik" pitchFamily="2" charset="-78"/>
          </a:endParaRPr>
        </a:p>
      </dgm:t>
    </dgm:pt>
    <dgm:pt modelId="{0C3A7D15-90EE-4C5E-AFF7-BA18A68025A3}">
      <dgm:prSet phldrT="[Text]" custT="1"/>
      <dgm:spPr>
        <a:solidFill>
          <a:schemeClr val="accent3"/>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ar-IQ" sz="2000" dirty="0">
              <a:cs typeface="Ali_K_Samik" pitchFamily="2" charset="-78"/>
            </a:rPr>
            <a:t>رِةش بوونةوةى زانيارى</a:t>
          </a:r>
          <a:endParaRPr lang="en-GB" sz="2000" dirty="0">
            <a:cs typeface="Ali_K_Samik" pitchFamily="2" charset="-78"/>
          </a:endParaRPr>
        </a:p>
      </dgm:t>
      <dgm:extLst>
        <a:ext uri="{E40237B7-FDA0-4F09-8148-C483321AD2D9}">
          <dgm14:cNvPr xmlns:dgm14="http://schemas.microsoft.com/office/drawing/2010/diagram" id="0" name="">
            <a:hlinkClick xmlns:r="http://schemas.openxmlformats.org/officeDocument/2006/relationships" r:id="rId4" action="ppaction://hlinkpres?slideindex=1&amp;slidetitle="/>
          </dgm14:cNvPr>
        </a:ext>
      </dgm:extLst>
    </dgm:pt>
    <dgm:pt modelId="{569B30DE-D25A-41C5-B12D-736638B748A3}" type="parTrans" cxnId="{08D9C546-17B4-47D4-9EC5-7940E06D5F2D}">
      <dgm:prSet/>
      <dgm:spPr/>
      <dgm:t>
        <a:bodyPr/>
        <a:lstStyle/>
        <a:p>
          <a:endParaRPr lang="en-GB" sz="2000">
            <a:cs typeface="Ali_K_Samik" pitchFamily="2" charset="-78"/>
          </a:endParaRPr>
        </a:p>
      </dgm:t>
    </dgm:pt>
    <dgm:pt modelId="{E5489D6A-9EDC-4913-9250-46DCE43C0416}" type="sibTrans" cxnId="{08D9C546-17B4-47D4-9EC5-7940E06D5F2D}">
      <dgm:prSet/>
      <dgm:spPr>
        <a:solidFill>
          <a:schemeClr val="accent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dgm:spPr>
      <dgm:t>
        <a:bodyPr/>
        <a:lstStyle/>
        <a:p>
          <a:endParaRPr lang="en-GB" sz="2000">
            <a:cs typeface="Ali_K_Samik" pitchFamily="2" charset="-78"/>
          </a:endParaRPr>
        </a:p>
      </dgm:t>
    </dgm:pt>
    <dgm:pt modelId="{9F473DF9-139C-4B8A-8CF9-16F2F2C6A9BC}" type="pres">
      <dgm:prSet presAssocID="{217EBBB0-F827-46AE-9460-7FCC2F6528A1}" presName="Name0" presStyleCnt="0">
        <dgm:presLayoutVars>
          <dgm:chMax val="1"/>
          <dgm:dir/>
          <dgm:animLvl val="ctr"/>
          <dgm:resizeHandles val="exact"/>
        </dgm:presLayoutVars>
      </dgm:prSet>
      <dgm:spPr/>
    </dgm:pt>
    <dgm:pt modelId="{0688CFF3-FE03-4BDE-8FE3-CC153633FB9E}" type="pres">
      <dgm:prSet presAssocID="{64B365FC-2005-4D04-B8CE-CB9C83E3DC4C}" presName="centerShape" presStyleLbl="node0" presStyleIdx="0" presStyleCnt="1"/>
      <dgm:spPr/>
    </dgm:pt>
    <dgm:pt modelId="{DB0BFF28-1E85-4482-A219-FB9C3CBEABD8}" type="pres">
      <dgm:prSet presAssocID="{D31C7B8C-8E9C-4228-8A51-6F8E3791E4FF}" presName="node" presStyleLbl="node1" presStyleIdx="0" presStyleCnt="4">
        <dgm:presLayoutVars>
          <dgm:bulletEnabled val="1"/>
        </dgm:presLayoutVars>
      </dgm:prSet>
      <dgm:spPr/>
    </dgm:pt>
    <dgm:pt modelId="{64DFC1F2-BA59-43EB-B08B-7E3E860959F6}" type="pres">
      <dgm:prSet presAssocID="{D31C7B8C-8E9C-4228-8A51-6F8E3791E4FF}" presName="dummy" presStyleCnt="0"/>
      <dgm:spPr/>
    </dgm:pt>
    <dgm:pt modelId="{A29092A2-052E-43E9-A4E8-B8D73DDD4A23}" type="pres">
      <dgm:prSet presAssocID="{86301C8B-4417-406C-997E-871E70C86CE9}" presName="sibTrans" presStyleLbl="sibTrans2D1" presStyleIdx="0" presStyleCnt="4"/>
      <dgm:spPr/>
    </dgm:pt>
    <dgm:pt modelId="{0CCC0140-B4F1-4471-8D95-15BDCE4FD058}" type="pres">
      <dgm:prSet presAssocID="{F22F2028-4210-4DDB-98F4-EB7FC6F0156B}" presName="node" presStyleLbl="node1" presStyleIdx="1" presStyleCnt="4">
        <dgm:presLayoutVars>
          <dgm:bulletEnabled val="1"/>
        </dgm:presLayoutVars>
      </dgm:prSet>
      <dgm:spPr/>
    </dgm:pt>
    <dgm:pt modelId="{794530F7-2C6D-4413-A76D-A2B847DE5B95}" type="pres">
      <dgm:prSet presAssocID="{F22F2028-4210-4DDB-98F4-EB7FC6F0156B}" presName="dummy" presStyleCnt="0"/>
      <dgm:spPr/>
    </dgm:pt>
    <dgm:pt modelId="{0933A790-1056-4A1D-891A-04B03D56FA05}" type="pres">
      <dgm:prSet presAssocID="{F4A9BE7A-5488-43D7-9D40-141D4D5FF5D4}" presName="sibTrans" presStyleLbl="sibTrans2D1" presStyleIdx="1" presStyleCnt="4"/>
      <dgm:spPr/>
    </dgm:pt>
    <dgm:pt modelId="{2E160917-3149-4926-9E88-476569CDC676}" type="pres">
      <dgm:prSet presAssocID="{0941CF28-C145-4EF7-884C-B16FA2D5C41E}" presName="node" presStyleLbl="node1" presStyleIdx="2" presStyleCnt="4">
        <dgm:presLayoutVars>
          <dgm:bulletEnabled val="1"/>
        </dgm:presLayoutVars>
      </dgm:prSet>
      <dgm:spPr/>
    </dgm:pt>
    <dgm:pt modelId="{00498193-43B3-4DCB-9137-2CA0B2436BDF}" type="pres">
      <dgm:prSet presAssocID="{0941CF28-C145-4EF7-884C-B16FA2D5C41E}" presName="dummy" presStyleCnt="0"/>
      <dgm:spPr/>
    </dgm:pt>
    <dgm:pt modelId="{866BD868-6EC7-45A0-BE5D-AA79C8A3F230}" type="pres">
      <dgm:prSet presAssocID="{F0581F28-CC63-4D73-A425-D75EDBE9B57B}" presName="sibTrans" presStyleLbl="sibTrans2D1" presStyleIdx="2" presStyleCnt="4"/>
      <dgm:spPr/>
    </dgm:pt>
    <dgm:pt modelId="{3DE27E2F-92DC-459F-8324-8D0263BB97DA}" type="pres">
      <dgm:prSet presAssocID="{0C3A7D15-90EE-4C5E-AFF7-BA18A68025A3}" presName="node" presStyleLbl="node1" presStyleIdx="3" presStyleCnt="4">
        <dgm:presLayoutVars>
          <dgm:bulletEnabled val="1"/>
        </dgm:presLayoutVars>
      </dgm:prSet>
      <dgm:spPr/>
    </dgm:pt>
    <dgm:pt modelId="{DD38A1CF-2AD3-4ECB-BCFF-BF241A8DFD1A}" type="pres">
      <dgm:prSet presAssocID="{0C3A7D15-90EE-4C5E-AFF7-BA18A68025A3}" presName="dummy" presStyleCnt="0"/>
      <dgm:spPr/>
    </dgm:pt>
    <dgm:pt modelId="{FA2CA671-228E-446D-A719-8116752D9BD9}" type="pres">
      <dgm:prSet presAssocID="{E5489D6A-9EDC-4913-9250-46DCE43C0416}" presName="sibTrans" presStyleLbl="sibTrans2D1" presStyleIdx="3" presStyleCnt="4" custLinFactNeighborY="1116"/>
      <dgm:spPr/>
    </dgm:pt>
  </dgm:ptLst>
  <dgm:cxnLst>
    <dgm:cxn modelId="{6EECC200-C776-4249-8D14-E1B77273F29B}" type="presOf" srcId="{D31C7B8C-8E9C-4228-8A51-6F8E3791E4FF}" destId="{DB0BFF28-1E85-4482-A219-FB9C3CBEABD8}" srcOrd="0" destOrd="0" presId="urn:microsoft.com/office/officeart/2005/8/layout/radial6"/>
    <dgm:cxn modelId="{102CD40A-5CB4-4035-8D3E-13FA9AE2759E}" type="presOf" srcId="{E5489D6A-9EDC-4913-9250-46DCE43C0416}" destId="{FA2CA671-228E-446D-A719-8116752D9BD9}" srcOrd="0" destOrd="0" presId="urn:microsoft.com/office/officeart/2005/8/layout/radial6"/>
    <dgm:cxn modelId="{ED713414-4310-4669-A611-F16B43074A9A}" srcId="{64B365FC-2005-4D04-B8CE-CB9C83E3DC4C}" destId="{D31C7B8C-8E9C-4228-8A51-6F8E3791E4FF}" srcOrd="0" destOrd="0" parTransId="{22EEE24F-E8FC-4632-9E98-298A6BD6240C}" sibTransId="{86301C8B-4417-406C-997E-871E70C86CE9}"/>
    <dgm:cxn modelId="{F15B1C2D-507B-4C0D-9ED7-BDFF73FB12C4}" srcId="{217EBBB0-F827-46AE-9460-7FCC2F6528A1}" destId="{64B365FC-2005-4D04-B8CE-CB9C83E3DC4C}" srcOrd="0" destOrd="0" parTransId="{E66DE0E6-8C17-4351-B986-505277710E4A}" sibTransId="{2D77592B-18C3-4840-8B2C-57B14801CB2D}"/>
    <dgm:cxn modelId="{223FA937-F668-4EB3-AE8A-B0BCCBE740AF}" srcId="{64B365FC-2005-4D04-B8CE-CB9C83E3DC4C}" destId="{F22F2028-4210-4DDB-98F4-EB7FC6F0156B}" srcOrd="1" destOrd="0" parTransId="{1E2A7D03-7E54-41B0-9A3D-44B48643BC02}" sibTransId="{F4A9BE7A-5488-43D7-9D40-141D4D5FF5D4}"/>
    <dgm:cxn modelId="{08D9C546-17B4-47D4-9EC5-7940E06D5F2D}" srcId="{64B365FC-2005-4D04-B8CE-CB9C83E3DC4C}" destId="{0C3A7D15-90EE-4C5E-AFF7-BA18A68025A3}" srcOrd="3" destOrd="0" parTransId="{569B30DE-D25A-41C5-B12D-736638B748A3}" sibTransId="{E5489D6A-9EDC-4913-9250-46DCE43C0416}"/>
    <dgm:cxn modelId="{2603804A-4FC0-4876-8501-7BE982A230FA}" type="presOf" srcId="{86301C8B-4417-406C-997E-871E70C86CE9}" destId="{A29092A2-052E-43E9-A4E8-B8D73DDD4A23}" srcOrd="0" destOrd="0" presId="urn:microsoft.com/office/officeart/2005/8/layout/radial6"/>
    <dgm:cxn modelId="{C6034850-65DE-4858-8ED0-0284D3FBE7FB}" type="presOf" srcId="{64B365FC-2005-4D04-B8CE-CB9C83E3DC4C}" destId="{0688CFF3-FE03-4BDE-8FE3-CC153633FB9E}" srcOrd="0" destOrd="0" presId="urn:microsoft.com/office/officeart/2005/8/layout/radial6"/>
    <dgm:cxn modelId="{DBFF9B72-A824-4185-99AE-BE4650AC8261}" type="presOf" srcId="{0941CF28-C145-4EF7-884C-B16FA2D5C41E}" destId="{2E160917-3149-4926-9E88-476569CDC676}" srcOrd="0" destOrd="0" presId="urn:microsoft.com/office/officeart/2005/8/layout/radial6"/>
    <dgm:cxn modelId="{56674A59-A876-49E0-B27B-72456B2AB177}" type="presOf" srcId="{0C3A7D15-90EE-4C5E-AFF7-BA18A68025A3}" destId="{3DE27E2F-92DC-459F-8324-8D0263BB97DA}" srcOrd="0" destOrd="0" presId="urn:microsoft.com/office/officeart/2005/8/layout/radial6"/>
    <dgm:cxn modelId="{B1B3447C-57FA-4160-B8E2-733B13F12A4D}" type="presOf" srcId="{F0581F28-CC63-4D73-A425-D75EDBE9B57B}" destId="{866BD868-6EC7-45A0-BE5D-AA79C8A3F230}" srcOrd="0" destOrd="0" presId="urn:microsoft.com/office/officeart/2005/8/layout/radial6"/>
    <dgm:cxn modelId="{7B1B328D-DF24-4107-8ED4-AA2A335688C7}" srcId="{64B365FC-2005-4D04-B8CE-CB9C83E3DC4C}" destId="{0941CF28-C145-4EF7-884C-B16FA2D5C41E}" srcOrd="2" destOrd="0" parTransId="{877A82F7-09F0-4CB2-B97F-ABC37A3F4C2D}" sibTransId="{F0581F28-CC63-4D73-A425-D75EDBE9B57B}"/>
    <dgm:cxn modelId="{3129F8C9-D187-4B26-99E4-5A7EF61CF133}" type="presOf" srcId="{F22F2028-4210-4DDB-98F4-EB7FC6F0156B}" destId="{0CCC0140-B4F1-4471-8D95-15BDCE4FD058}" srcOrd="0" destOrd="0" presId="urn:microsoft.com/office/officeart/2005/8/layout/radial6"/>
    <dgm:cxn modelId="{4E238BDA-C6BA-4F98-B227-36CDC946F1B1}" type="presOf" srcId="{F4A9BE7A-5488-43D7-9D40-141D4D5FF5D4}" destId="{0933A790-1056-4A1D-891A-04B03D56FA05}" srcOrd="0" destOrd="0" presId="urn:microsoft.com/office/officeart/2005/8/layout/radial6"/>
    <dgm:cxn modelId="{07790CE4-848A-4B1D-B46E-CC019F2F515E}" type="presOf" srcId="{217EBBB0-F827-46AE-9460-7FCC2F6528A1}" destId="{9F473DF9-139C-4B8A-8CF9-16F2F2C6A9BC}" srcOrd="0" destOrd="0" presId="urn:microsoft.com/office/officeart/2005/8/layout/radial6"/>
    <dgm:cxn modelId="{14ADFEF3-637C-4DB4-A8D3-326B1D79E005}" type="presParOf" srcId="{9F473DF9-139C-4B8A-8CF9-16F2F2C6A9BC}" destId="{0688CFF3-FE03-4BDE-8FE3-CC153633FB9E}" srcOrd="0" destOrd="0" presId="urn:microsoft.com/office/officeart/2005/8/layout/radial6"/>
    <dgm:cxn modelId="{78C9C4A8-48F8-46A1-BD20-7BEAD5C2CD9D}" type="presParOf" srcId="{9F473DF9-139C-4B8A-8CF9-16F2F2C6A9BC}" destId="{DB0BFF28-1E85-4482-A219-FB9C3CBEABD8}" srcOrd="1" destOrd="0" presId="urn:microsoft.com/office/officeart/2005/8/layout/radial6"/>
    <dgm:cxn modelId="{C0590FD0-F2C5-4EE7-8B20-12F85B930914}" type="presParOf" srcId="{9F473DF9-139C-4B8A-8CF9-16F2F2C6A9BC}" destId="{64DFC1F2-BA59-43EB-B08B-7E3E860959F6}" srcOrd="2" destOrd="0" presId="urn:microsoft.com/office/officeart/2005/8/layout/radial6"/>
    <dgm:cxn modelId="{B6C90CF3-CE23-4A58-8032-D01F42A145E9}" type="presParOf" srcId="{9F473DF9-139C-4B8A-8CF9-16F2F2C6A9BC}" destId="{A29092A2-052E-43E9-A4E8-B8D73DDD4A23}" srcOrd="3" destOrd="0" presId="urn:microsoft.com/office/officeart/2005/8/layout/radial6"/>
    <dgm:cxn modelId="{806B1763-5C66-434A-8D5D-2F45B90C862A}" type="presParOf" srcId="{9F473DF9-139C-4B8A-8CF9-16F2F2C6A9BC}" destId="{0CCC0140-B4F1-4471-8D95-15BDCE4FD058}" srcOrd="4" destOrd="0" presId="urn:microsoft.com/office/officeart/2005/8/layout/radial6"/>
    <dgm:cxn modelId="{7F246F88-60DB-4C9A-8856-D3253CF34415}" type="presParOf" srcId="{9F473DF9-139C-4B8A-8CF9-16F2F2C6A9BC}" destId="{794530F7-2C6D-4413-A76D-A2B847DE5B95}" srcOrd="5" destOrd="0" presId="urn:microsoft.com/office/officeart/2005/8/layout/radial6"/>
    <dgm:cxn modelId="{F6DC0141-985A-4BC8-8655-A1F9F36A35DC}" type="presParOf" srcId="{9F473DF9-139C-4B8A-8CF9-16F2F2C6A9BC}" destId="{0933A790-1056-4A1D-891A-04B03D56FA05}" srcOrd="6" destOrd="0" presId="urn:microsoft.com/office/officeart/2005/8/layout/radial6"/>
    <dgm:cxn modelId="{85E23EE6-1CCB-422A-AD8E-7BA550FF047E}" type="presParOf" srcId="{9F473DF9-139C-4B8A-8CF9-16F2F2C6A9BC}" destId="{2E160917-3149-4926-9E88-476569CDC676}" srcOrd="7" destOrd="0" presId="urn:microsoft.com/office/officeart/2005/8/layout/radial6"/>
    <dgm:cxn modelId="{11DE979C-FFD9-4022-95F4-6957361AD402}" type="presParOf" srcId="{9F473DF9-139C-4B8A-8CF9-16F2F2C6A9BC}" destId="{00498193-43B3-4DCB-9137-2CA0B2436BDF}" srcOrd="8" destOrd="0" presId="urn:microsoft.com/office/officeart/2005/8/layout/radial6"/>
    <dgm:cxn modelId="{E3B15263-8BF8-45E5-A031-BC4A6C5675B1}" type="presParOf" srcId="{9F473DF9-139C-4B8A-8CF9-16F2F2C6A9BC}" destId="{866BD868-6EC7-45A0-BE5D-AA79C8A3F230}" srcOrd="9" destOrd="0" presId="urn:microsoft.com/office/officeart/2005/8/layout/radial6"/>
    <dgm:cxn modelId="{D1342CF9-73C6-4E0A-975D-6AA003E9EEB3}" type="presParOf" srcId="{9F473DF9-139C-4B8A-8CF9-16F2F2C6A9BC}" destId="{3DE27E2F-92DC-459F-8324-8D0263BB97DA}" srcOrd="10" destOrd="0" presId="urn:microsoft.com/office/officeart/2005/8/layout/radial6"/>
    <dgm:cxn modelId="{B7616840-8F87-46FF-9C33-E5F68C39E32F}" type="presParOf" srcId="{9F473DF9-139C-4B8A-8CF9-16F2F2C6A9BC}" destId="{DD38A1CF-2AD3-4ECB-BCFF-BF241A8DFD1A}" srcOrd="11" destOrd="0" presId="urn:microsoft.com/office/officeart/2005/8/layout/radial6"/>
    <dgm:cxn modelId="{B6ED1B53-5C12-45D0-A8E7-27299118C531}" type="presParOf" srcId="{9F473DF9-139C-4B8A-8CF9-16F2F2C6A9BC}" destId="{FA2CA671-228E-446D-A719-8116752D9BD9}"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CA671-228E-446D-A719-8116752D9BD9}">
      <dsp:nvSpPr>
        <dsp:cNvPr id="0" name=""/>
        <dsp:cNvSpPr/>
      </dsp:nvSpPr>
      <dsp:spPr>
        <a:xfrm>
          <a:off x="3414530" y="812028"/>
          <a:ext cx="5044070" cy="5044070"/>
        </a:xfrm>
        <a:prstGeom prst="blockArc">
          <a:avLst>
            <a:gd name="adj1" fmla="val 10800000"/>
            <a:gd name="adj2" fmla="val 16200000"/>
            <a:gd name="adj3" fmla="val 4640"/>
          </a:avLst>
        </a:prstGeom>
        <a:solidFill>
          <a:schemeClr val="accent2"/>
        </a:solidFill>
        <a:ln>
          <a:noFill/>
        </a:ln>
        <a:effectLst>
          <a:outerShdw blurRad="57785" dist="33020" dir="3180000" algn="ctr" rotWithShape="0">
            <a:srgbClr val="000000">
              <a:alpha val="30000"/>
            </a:srgbClr>
          </a:outerShdw>
        </a:effectLst>
        <a:scene3d>
          <a:camera prst="orthographicFront">
            <a:rot lat="0" lon="0" rev="0"/>
          </a:camera>
          <a:lightRig rig="brightRoom" dir="t">
            <a:rot lat="0" lon="0" rev="600000"/>
          </a:lightRig>
        </a:scene3d>
        <a:sp3d prstMaterial="metal">
          <a:bevelT w="38100" h="57150" prst="angle"/>
        </a:sp3d>
      </dsp:spPr>
      <dsp:style>
        <a:lnRef idx="0">
          <a:scrgbClr r="0" g="0" b="0"/>
        </a:lnRef>
        <a:fillRef idx="1">
          <a:scrgbClr r="0" g="0" b="0"/>
        </a:fillRef>
        <a:effectRef idx="0">
          <a:scrgbClr r="0" g="0" b="0"/>
        </a:effectRef>
        <a:fontRef idx="minor">
          <a:schemeClr val="lt1"/>
        </a:fontRef>
      </dsp:style>
    </dsp:sp>
    <dsp:sp modelId="{866BD868-6EC7-45A0-BE5D-AA79C8A3F230}">
      <dsp:nvSpPr>
        <dsp:cNvPr id="0" name=""/>
        <dsp:cNvSpPr/>
      </dsp:nvSpPr>
      <dsp:spPr>
        <a:xfrm>
          <a:off x="3414530" y="755736"/>
          <a:ext cx="5044070" cy="5044070"/>
        </a:xfrm>
        <a:prstGeom prst="blockArc">
          <a:avLst>
            <a:gd name="adj1" fmla="val 5400000"/>
            <a:gd name="adj2" fmla="val 10800000"/>
            <a:gd name="adj3" fmla="val 4640"/>
          </a:avLst>
        </a:prstGeom>
        <a:solidFill>
          <a:schemeClr val="accent2"/>
        </a:solidFill>
        <a:ln>
          <a:noFill/>
        </a:ln>
        <a:effectLst>
          <a:outerShdw blurRad="57785" dist="33020" dir="3180000" algn="ctr" rotWithShape="0">
            <a:srgbClr val="000000">
              <a:alpha val="30000"/>
            </a:srgbClr>
          </a:outerShdw>
        </a:effectLst>
        <a:scene3d>
          <a:camera prst="orthographicFront">
            <a:rot lat="0" lon="0" rev="0"/>
          </a:camera>
          <a:lightRig rig="brightRoom" dir="t">
            <a:rot lat="0" lon="0" rev="600000"/>
          </a:lightRig>
        </a:scene3d>
        <a:sp3d prstMaterial="metal">
          <a:bevelT w="38100" h="57150" prst="angle"/>
        </a:sp3d>
      </dsp:spPr>
      <dsp:style>
        <a:lnRef idx="0">
          <a:scrgbClr r="0" g="0" b="0"/>
        </a:lnRef>
        <a:fillRef idx="1">
          <a:scrgbClr r="0" g="0" b="0"/>
        </a:fillRef>
        <a:effectRef idx="0">
          <a:scrgbClr r="0" g="0" b="0"/>
        </a:effectRef>
        <a:fontRef idx="minor">
          <a:schemeClr val="lt1"/>
        </a:fontRef>
      </dsp:style>
    </dsp:sp>
    <dsp:sp modelId="{0933A790-1056-4A1D-891A-04B03D56FA05}">
      <dsp:nvSpPr>
        <dsp:cNvPr id="0" name=""/>
        <dsp:cNvSpPr/>
      </dsp:nvSpPr>
      <dsp:spPr>
        <a:xfrm>
          <a:off x="3414530" y="755736"/>
          <a:ext cx="5044070" cy="5044070"/>
        </a:xfrm>
        <a:prstGeom prst="blockArc">
          <a:avLst>
            <a:gd name="adj1" fmla="val 0"/>
            <a:gd name="adj2" fmla="val 5400000"/>
            <a:gd name="adj3" fmla="val 4640"/>
          </a:avLst>
        </a:prstGeom>
        <a:solidFill>
          <a:schemeClr val="accent2"/>
        </a:solidFill>
        <a:ln>
          <a:noFill/>
        </a:ln>
        <a:effectLst>
          <a:outerShdw blurRad="57785" dist="33020" dir="3180000" algn="ctr" rotWithShape="0">
            <a:srgbClr val="000000">
              <a:alpha val="30000"/>
            </a:srgbClr>
          </a:outerShdw>
        </a:effectLst>
        <a:scene3d>
          <a:camera prst="orthographicFront">
            <a:rot lat="0" lon="0" rev="0"/>
          </a:camera>
          <a:lightRig rig="brightRoom" dir="t">
            <a:rot lat="0" lon="0" rev="600000"/>
          </a:lightRig>
        </a:scene3d>
        <a:sp3d prstMaterial="metal">
          <a:bevelT w="38100" h="57150" prst="angle"/>
        </a:sp3d>
      </dsp:spPr>
      <dsp:style>
        <a:lnRef idx="0">
          <a:scrgbClr r="0" g="0" b="0"/>
        </a:lnRef>
        <a:fillRef idx="1">
          <a:scrgbClr r="0" g="0" b="0"/>
        </a:fillRef>
        <a:effectRef idx="0">
          <a:scrgbClr r="0" g="0" b="0"/>
        </a:effectRef>
        <a:fontRef idx="minor">
          <a:schemeClr val="lt1"/>
        </a:fontRef>
      </dsp:style>
    </dsp:sp>
    <dsp:sp modelId="{A29092A2-052E-43E9-A4E8-B8D73DDD4A23}">
      <dsp:nvSpPr>
        <dsp:cNvPr id="0" name=""/>
        <dsp:cNvSpPr/>
      </dsp:nvSpPr>
      <dsp:spPr>
        <a:xfrm>
          <a:off x="3414530" y="755736"/>
          <a:ext cx="5044070" cy="5044070"/>
        </a:xfrm>
        <a:prstGeom prst="blockArc">
          <a:avLst>
            <a:gd name="adj1" fmla="val 16200000"/>
            <a:gd name="adj2" fmla="val 0"/>
            <a:gd name="adj3" fmla="val 4640"/>
          </a:avLst>
        </a:prstGeom>
        <a:solidFill>
          <a:schemeClr val="accent2"/>
        </a:solidFill>
        <a:ln>
          <a:noFill/>
        </a:ln>
        <a:effectLst>
          <a:outerShdw blurRad="57785" dist="33020" dir="3180000" algn="ctr" rotWithShape="0">
            <a:srgbClr val="000000">
              <a:alpha val="30000"/>
            </a:srgbClr>
          </a:outerShdw>
        </a:effectLst>
        <a:scene3d>
          <a:camera prst="orthographicFront">
            <a:rot lat="0" lon="0" rev="0"/>
          </a:camera>
          <a:lightRig rig="brightRoom" dir="t">
            <a:rot lat="0" lon="0" rev="600000"/>
          </a:lightRig>
        </a:scene3d>
        <a:sp3d prstMaterial="metal">
          <a:bevelT w="38100" h="57150" prst="angle"/>
        </a:sp3d>
      </dsp:spPr>
      <dsp:style>
        <a:lnRef idx="0">
          <a:scrgbClr r="0" g="0" b="0"/>
        </a:lnRef>
        <a:fillRef idx="1">
          <a:scrgbClr r="0" g="0" b="0"/>
        </a:fillRef>
        <a:effectRef idx="0">
          <a:scrgbClr r="0" g="0" b="0"/>
        </a:effectRef>
        <a:fontRef idx="minor">
          <a:schemeClr val="lt1"/>
        </a:fontRef>
      </dsp:style>
    </dsp:sp>
    <dsp:sp modelId="{0688CFF3-FE03-4BDE-8FE3-CC153633FB9E}">
      <dsp:nvSpPr>
        <dsp:cNvPr id="0" name=""/>
        <dsp:cNvSpPr/>
      </dsp:nvSpPr>
      <dsp:spPr>
        <a:xfrm>
          <a:off x="4775630" y="2116837"/>
          <a:ext cx="2321869" cy="2321869"/>
        </a:xfrm>
        <a:prstGeom prst="ellipse">
          <a:avLst/>
        </a:prstGeom>
        <a:solidFill>
          <a:schemeClr val="tx1"/>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ar-IQ" sz="2000" kern="1200" dirty="0">
              <a:cs typeface="Ali_K_Samik" pitchFamily="2" charset="-78"/>
            </a:rPr>
            <a:t>هؤكارةكانى لةبيرضوونةوة</a:t>
          </a:r>
          <a:endParaRPr lang="en-GB" sz="2000" kern="1200" dirty="0">
            <a:cs typeface="Ali_K_Samik" pitchFamily="2" charset="-78"/>
          </a:endParaRPr>
        </a:p>
      </dsp:txBody>
      <dsp:txXfrm>
        <a:off x="5115660" y="2456867"/>
        <a:ext cx="1641809" cy="1641809"/>
      </dsp:txXfrm>
    </dsp:sp>
    <dsp:sp modelId="{DB0BFF28-1E85-4482-A219-FB9C3CBEABD8}">
      <dsp:nvSpPr>
        <dsp:cNvPr id="0" name=""/>
        <dsp:cNvSpPr/>
      </dsp:nvSpPr>
      <dsp:spPr>
        <a:xfrm>
          <a:off x="5123911" y="1593"/>
          <a:ext cx="1625308" cy="1625308"/>
        </a:xfrm>
        <a:prstGeom prst="ellipse">
          <a:avLst/>
        </a:prstGeom>
        <a:solidFill>
          <a:schemeClr val="accent6"/>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ar-IQ" sz="2000" kern="1200" dirty="0">
              <a:cs typeface="Ali_K_Samik" pitchFamily="2" charset="-78"/>
            </a:rPr>
            <a:t>ثوكانةوة زانيارى</a:t>
          </a:r>
          <a:endParaRPr lang="en-GB" sz="2000" kern="1200" dirty="0">
            <a:cs typeface="Ali_K_Samik" pitchFamily="2" charset="-78"/>
          </a:endParaRPr>
        </a:p>
      </dsp:txBody>
      <dsp:txXfrm>
        <a:off x="5361932" y="239614"/>
        <a:ext cx="1149266" cy="1149266"/>
      </dsp:txXfrm>
    </dsp:sp>
    <dsp:sp modelId="{0CCC0140-B4F1-4471-8D95-15BDCE4FD058}">
      <dsp:nvSpPr>
        <dsp:cNvPr id="0" name=""/>
        <dsp:cNvSpPr/>
      </dsp:nvSpPr>
      <dsp:spPr>
        <a:xfrm>
          <a:off x="7587435" y="2465117"/>
          <a:ext cx="1625308" cy="1625308"/>
        </a:xfrm>
        <a:prstGeom prst="ellipse">
          <a:avLst/>
        </a:prstGeom>
        <a:solidFill>
          <a:srgbClr val="C00000"/>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ar-IQ" sz="2000" kern="1200" dirty="0">
              <a:cs typeface="Ali_K_Samik" pitchFamily="2" charset="-78"/>
            </a:rPr>
            <a:t>تيَكةلاَو بوونى زانيارى</a:t>
          </a:r>
          <a:endParaRPr lang="en-GB" sz="2000" kern="1200" dirty="0">
            <a:cs typeface="Ali_K_Samik" pitchFamily="2" charset="-78"/>
          </a:endParaRPr>
        </a:p>
      </dsp:txBody>
      <dsp:txXfrm>
        <a:off x="7825456" y="2703138"/>
        <a:ext cx="1149266" cy="1149266"/>
      </dsp:txXfrm>
    </dsp:sp>
    <dsp:sp modelId="{2E160917-3149-4926-9E88-476569CDC676}">
      <dsp:nvSpPr>
        <dsp:cNvPr id="0" name=""/>
        <dsp:cNvSpPr/>
      </dsp:nvSpPr>
      <dsp:spPr>
        <a:xfrm>
          <a:off x="5123911" y="4928641"/>
          <a:ext cx="1625308" cy="1625308"/>
        </a:xfrm>
        <a:prstGeom prst="ellipse">
          <a:avLst/>
        </a:prstGeom>
        <a:solidFill>
          <a:srgbClr val="002060"/>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ar-IQ" sz="2000" kern="1200" dirty="0">
              <a:cs typeface="Ali_K_Samik" pitchFamily="2" charset="-78"/>
            </a:rPr>
            <a:t>ضةثاندنى زانيارى</a:t>
          </a:r>
          <a:endParaRPr lang="en-GB" sz="2000" kern="1200" dirty="0">
            <a:cs typeface="Ali_K_Samik" pitchFamily="2" charset="-78"/>
          </a:endParaRPr>
        </a:p>
      </dsp:txBody>
      <dsp:txXfrm>
        <a:off x="5361932" y="5166662"/>
        <a:ext cx="1149266" cy="1149266"/>
      </dsp:txXfrm>
    </dsp:sp>
    <dsp:sp modelId="{3DE27E2F-92DC-459F-8324-8D0263BB97DA}">
      <dsp:nvSpPr>
        <dsp:cNvPr id="0" name=""/>
        <dsp:cNvSpPr/>
      </dsp:nvSpPr>
      <dsp:spPr>
        <a:xfrm>
          <a:off x="2660386" y="2465117"/>
          <a:ext cx="1625308" cy="1625308"/>
        </a:xfrm>
        <a:prstGeom prst="ellipse">
          <a:avLst/>
        </a:prstGeom>
        <a:solidFill>
          <a:schemeClr val="accent3"/>
        </a:solidFill>
        <a:ln w="12700" cap="flat" cmpd="sng" algn="ctr">
          <a:noFill/>
          <a:prstDash val="solid"/>
          <a:miter lim="800000"/>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ar-IQ" sz="2000" kern="1200" dirty="0">
              <a:cs typeface="Ali_K_Samik" pitchFamily="2" charset="-78"/>
            </a:rPr>
            <a:t>رِةش بوونةوةى زانيارى</a:t>
          </a:r>
          <a:endParaRPr lang="en-GB" sz="2000" kern="1200" dirty="0">
            <a:cs typeface="Ali_K_Samik" pitchFamily="2" charset="-78"/>
          </a:endParaRPr>
        </a:p>
      </dsp:txBody>
      <dsp:txXfrm>
        <a:off x="2898407" y="2703138"/>
        <a:ext cx="1149266" cy="1149266"/>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descr="Tag=AccentColor&#10;Flavor=Light&#10;Target=FillAndLine">
            <a:extLst>
              <a:ext uri="{FF2B5EF4-FFF2-40B4-BE49-F238E27FC236}">
                <a16:creationId xmlns:a16="http://schemas.microsoft.com/office/drawing/2014/main" id="{DA381740-063A-41A4-836D-85D14980EEF0}"/>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24EF9DF8-704A-44AE-8850-307DDACC9387}"/>
              </a:ext>
            </a:extLst>
          </p:cNvPr>
          <p:cNvSpPr>
            <a:spLocks noGrp="1"/>
          </p:cNvSpPr>
          <p:nvPr>
            <p:ph type="ctrTitle"/>
          </p:nvPr>
        </p:nvSpPr>
        <p:spPr>
          <a:xfrm>
            <a:off x="841248" y="448056"/>
            <a:ext cx="10515600" cy="4069080"/>
          </a:xfrm>
        </p:spPr>
        <p:txBody>
          <a:bodyPr anchor="b">
            <a:noAutofit/>
          </a:bodyPr>
          <a:lstStyle>
            <a:lvl1pPr algn="l">
              <a:defRPr sz="96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CC72E09-06F3-48B9-9B95-DE15EC98017B}"/>
              </a:ext>
            </a:extLst>
          </p:cNvPr>
          <p:cNvSpPr>
            <a:spLocks noGrp="1"/>
          </p:cNvSpPr>
          <p:nvPr>
            <p:ph type="subTitle" idx="1"/>
          </p:nvPr>
        </p:nvSpPr>
        <p:spPr>
          <a:xfrm>
            <a:off x="841248" y="4983480"/>
            <a:ext cx="10515600" cy="1124712"/>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11CD474-E5E1-4D01-97F6-0C9FC09332C0}"/>
              </a:ext>
            </a:extLst>
          </p:cNvPr>
          <p:cNvSpPr>
            <a:spLocks noGrp="1"/>
          </p:cNvSpPr>
          <p:nvPr>
            <p:ph type="dt" sz="half" idx="10"/>
          </p:nvPr>
        </p:nvSpPr>
        <p:spPr/>
        <p:txBody>
          <a:bodyPr/>
          <a:lstStyle/>
          <a:p>
            <a:fld id="{72345051-2045-45DA-935E-2E3CA1A69ADC}" type="datetimeFigureOut">
              <a:rPr lang="en-US" smtClean="0"/>
              <a:t>4/4/2023</a:t>
            </a:fld>
            <a:endParaRPr lang="en-US" dirty="0"/>
          </a:p>
        </p:txBody>
      </p:sp>
      <p:sp>
        <p:nvSpPr>
          <p:cNvPr id="5" name="Footer Placeholder 4">
            <a:extLst>
              <a:ext uri="{FF2B5EF4-FFF2-40B4-BE49-F238E27FC236}">
                <a16:creationId xmlns:a16="http://schemas.microsoft.com/office/drawing/2014/main" id="{C636BBC7-EB9B-4B36-88E9-DBF65D270E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8786C7-DD8D-492F-9A9A-A7B3EBE27FE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671428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7CF8D-FF51-4FD8-B968-A2C8507347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61A953-02EA-491B-A215-AF8420D74D3A}"/>
              </a:ext>
            </a:extLst>
          </p:cNvPr>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4084D1E-BC98-44E4-8D2C-89CCDC293331}"/>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5" name="Footer Placeholder 4">
            <a:extLst>
              <a:ext uri="{FF2B5EF4-FFF2-40B4-BE49-F238E27FC236}">
                <a16:creationId xmlns:a16="http://schemas.microsoft.com/office/drawing/2014/main" id="{513019EB-9C2B-4833-B72A-1476941597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F6E764-5688-45F5-94ED-A7357D2F568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1565612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0E3CB6-3025-40BF-A04B-A7B0CB4C01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DD5CB3-8B24-48C7-89D3-8DCAD36A453D}"/>
              </a:ext>
            </a:extLst>
          </p:cNvPr>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50BC931-E2BF-4C1D-91AA-89F82F8268B2}"/>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5" name="Footer Placeholder 4">
            <a:extLst>
              <a:ext uri="{FF2B5EF4-FFF2-40B4-BE49-F238E27FC236}">
                <a16:creationId xmlns:a16="http://schemas.microsoft.com/office/drawing/2014/main" id="{7548A135-AEE9-4483-957E-3D143318D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8DEFD4-A052-46B3-B2AE-F3091D8A2F7B}"/>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20948501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D02BC-5A24-47F7-A4DF-B93FBC0C51B0}"/>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8E9219E-EE74-4093-94D6-F663E059C504}"/>
              </a:ext>
            </a:extLst>
          </p:cNvPr>
          <p:cNvSpPr>
            <a:spLocks noGrp="1"/>
          </p:cNvSpPr>
          <p:nvPr>
            <p:ph idx="1"/>
          </p:nvPr>
        </p:nvSpPr>
        <p:spPr>
          <a:xfrm>
            <a:off x="838200" y="1929384"/>
            <a:ext cx="10515600" cy="425196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2A61642-BFBA-48AE-A29C-C2AA7386AE95}"/>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5" name="Footer Placeholder 4">
            <a:extLst>
              <a:ext uri="{FF2B5EF4-FFF2-40B4-BE49-F238E27FC236}">
                <a16:creationId xmlns:a16="http://schemas.microsoft.com/office/drawing/2014/main" id="{2AD2029B-6646-4DBF-A302-76A513FC64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6D4DFD-766F-4E45-A00C-2B5E8CE9A90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7" descr="Tag=AccentColor&#10;Flavor=Light&#10;Target=FillAndLine">
            <a:extLst>
              <a:ext uri="{FF2B5EF4-FFF2-40B4-BE49-F238E27FC236}">
                <a16:creationId xmlns:a16="http://schemas.microsoft.com/office/drawing/2014/main" id="{EBDD1931-9E86-4402-9A68-33A2D9EFB198}"/>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299405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218C0-6540-400C-BB51-353D5FD5CB00}"/>
              </a:ext>
            </a:extLst>
          </p:cNvPr>
          <p:cNvSpPr>
            <a:spLocks noGrp="1"/>
          </p:cNvSpPr>
          <p:nvPr>
            <p:ph type="title"/>
          </p:nvPr>
        </p:nvSpPr>
        <p:spPr>
          <a:xfrm>
            <a:off x="841248" y="448056"/>
            <a:ext cx="10515600" cy="4069080"/>
          </a:xfrm>
        </p:spPr>
        <p:txBody>
          <a:bodyPr anchor="b">
            <a:normAutofit/>
          </a:bodyPr>
          <a:lstStyle>
            <a:lvl1pPr>
              <a:defRPr sz="8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81CD69-43B3-4FF7-AA41-30C36C957E65}"/>
              </a:ext>
            </a:extLst>
          </p:cNvPr>
          <p:cNvSpPr>
            <a:spLocks noGrp="1"/>
          </p:cNvSpPr>
          <p:nvPr>
            <p:ph type="body" idx="1"/>
          </p:nvPr>
        </p:nvSpPr>
        <p:spPr>
          <a:xfrm>
            <a:off x="841248" y="4983480"/>
            <a:ext cx="10515600" cy="1124712"/>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BF300D-5CBE-47E9-A193-E23C8314D0EA}"/>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5" name="Footer Placeholder 4">
            <a:extLst>
              <a:ext uri="{FF2B5EF4-FFF2-40B4-BE49-F238E27FC236}">
                <a16:creationId xmlns:a16="http://schemas.microsoft.com/office/drawing/2014/main" id="{56E7DF3F-C51A-4DB1-9FCE-E3E0D8E92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269CF4-FAAB-44EF-A2A5-8352B4AA384F}"/>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7" name="Rectangle 6" descr="Tag=AccentColor&#10;Flavor=Light&#10;Target=FillAndLine">
            <a:extLst>
              <a:ext uri="{FF2B5EF4-FFF2-40B4-BE49-F238E27FC236}">
                <a16:creationId xmlns:a16="http://schemas.microsoft.com/office/drawing/2014/main" id="{417A8947-4521-4FE1-8E44-27363435CE1B}"/>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220746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DE264-531D-49C1-A8AF-2B4C1D218FA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B9A1B8-2F1B-46AA-858A-CFFF5AF7CEB0}"/>
              </a:ext>
            </a:extLst>
          </p:cNvPr>
          <p:cNvSpPr>
            <a:spLocks noGrp="1"/>
          </p:cNvSpPr>
          <p:nvPr>
            <p:ph sz="half" idx="1"/>
          </p:nvPr>
        </p:nvSpPr>
        <p:spPr>
          <a:xfrm>
            <a:off x="838200" y="1929384"/>
            <a:ext cx="5181600" cy="42519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E6B9631-18C0-43BD-8AF3-9137D6D4C234}"/>
              </a:ext>
            </a:extLst>
          </p:cNvPr>
          <p:cNvSpPr>
            <a:spLocks noGrp="1"/>
          </p:cNvSpPr>
          <p:nvPr>
            <p:ph sz="half" idx="2"/>
          </p:nvPr>
        </p:nvSpPr>
        <p:spPr>
          <a:xfrm>
            <a:off x="6172200" y="1929384"/>
            <a:ext cx="5181600" cy="4251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9032FCA-14C6-4497-9C27-3F58062442CE}"/>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6" name="Footer Placeholder 5">
            <a:extLst>
              <a:ext uri="{FF2B5EF4-FFF2-40B4-BE49-F238E27FC236}">
                <a16:creationId xmlns:a16="http://schemas.microsoft.com/office/drawing/2014/main" id="{961E5057-693B-4E10-958E-0ABE79FEC7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CECB1-0A35-4C10-9D3D-FE4404283011}"/>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9" name="Rectangle 8" descr="Tag=AccentColor&#10;Flavor=Light&#10;Target=FillAndLine">
            <a:extLst>
              <a:ext uri="{FF2B5EF4-FFF2-40B4-BE49-F238E27FC236}">
                <a16:creationId xmlns:a16="http://schemas.microsoft.com/office/drawing/2014/main" id="{2FAAC677-2D37-4F63-9C4B-711A2988EE0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451043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AE282-8875-4F49-AB21-E1C2BCAEA1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712EA2-EF8C-4F18-BECF-AD121F72816A}"/>
              </a:ext>
            </a:extLst>
          </p:cNvPr>
          <p:cNvSpPr>
            <a:spLocks noGrp="1"/>
          </p:cNvSpPr>
          <p:nvPr>
            <p:ph type="body" idx="1"/>
          </p:nvPr>
        </p:nvSpPr>
        <p:spPr>
          <a:xfrm>
            <a:off x="839788" y="1938528"/>
            <a:ext cx="5157787"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7B59D4-E93F-40C1-A1A2-F1867830C678}"/>
              </a:ext>
            </a:extLst>
          </p:cNvPr>
          <p:cNvSpPr>
            <a:spLocks noGrp="1"/>
          </p:cNvSpPr>
          <p:nvPr>
            <p:ph sz="half" idx="2"/>
          </p:nvPr>
        </p:nvSpPr>
        <p:spPr>
          <a:xfrm>
            <a:off x="839788" y="2926080"/>
            <a:ext cx="5157787" cy="326440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E810616-1C77-42AE-8449-D0B64E2B8475}"/>
              </a:ext>
            </a:extLst>
          </p:cNvPr>
          <p:cNvSpPr>
            <a:spLocks noGrp="1"/>
          </p:cNvSpPr>
          <p:nvPr>
            <p:ph type="body" sz="quarter" idx="3"/>
          </p:nvPr>
        </p:nvSpPr>
        <p:spPr>
          <a:xfrm>
            <a:off x="6172200" y="1938528"/>
            <a:ext cx="5183188"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74E172-AFE8-48E4-BBB0-CA6D4EC1127C}"/>
              </a:ext>
            </a:extLst>
          </p:cNvPr>
          <p:cNvSpPr>
            <a:spLocks noGrp="1"/>
          </p:cNvSpPr>
          <p:nvPr>
            <p:ph sz="quarter" idx="4"/>
          </p:nvPr>
        </p:nvSpPr>
        <p:spPr>
          <a:xfrm>
            <a:off x="6172200" y="2926080"/>
            <a:ext cx="5183188" cy="32644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4C9407CC-270D-4C98-B95C-7AE67D2E1913}"/>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8" name="Footer Placeholder 7">
            <a:extLst>
              <a:ext uri="{FF2B5EF4-FFF2-40B4-BE49-F238E27FC236}">
                <a16:creationId xmlns:a16="http://schemas.microsoft.com/office/drawing/2014/main" id="{454070D5-9B7B-47FC-9F75-F6AD9607452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28EAC17-33BE-4265-8C06-644C2D34FD3C}"/>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11" name="Rectangle 10" descr="Tag=AccentColor&#10;Flavor=Light&#10;Target=FillAndLine">
            <a:extLst>
              <a:ext uri="{FF2B5EF4-FFF2-40B4-BE49-F238E27FC236}">
                <a16:creationId xmlns:a16="http://schemas.microsoft.com/office/drawing/2014/main" id="{F634C457-AEBF-47D7-9200-BAD05D138B1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39013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E9AC0-40CD-4451-BF00-5E2FC7B7451B}"/>
              </a:ext>
            </a:extLst>
          </p:cNvPr>
          <p:cNvSpPr>
            <a:spLocks noGrp="1"/>
          </p:cNvSpPr>
          <p:nvPr>
            <p:ph type="title"/>
          </p:nvPr>
        </p:nvSpPr>
        <p:spPr>
          <a:xfrm>
            <a:off x="2203704" y="1728216"/>
            <a:ext cx="7781544" cy="3392424"/>
          </a:xfrm>
        </p:spPr>
        <p:txBody>
          <a:bodyPr>
            <a:normAutofit/>
          </a:bodyPr>
          <a:lstStyle>
            <a:lvl1pPr algn="ctr">
              <a:defRPr sz="78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6FD9A32-9C83-452B-BC69-CC6E95D3C93C}"/>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4" name="Footer Placeholder 3">
            <a:extLst>
              <a:ext uri="{FF2B5EF4-FFF2-40B4-BE49-F238E27FC236}">
                <a16:creationId xmlns:a16="http://schemas.microsoft.com/office/drawing/2014/main" id="{6B87B83E-E23E-42DE-876D-F55908A97D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1C03A8-D428-4010-B413-13B1E992262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6" name="Rectangle 6" descr="Tag=AccentColor&#10;Flavor=Light&#10;Target=FillAndLine">
            <a:extLst>
              <a:ext uri="{FF2B5EF4-FFF2-40B4-BE49-F238E27FC236}">
                <a16:creationId xmlns:a16="http://schemas.microsoft.com/office/drawing/2014/main" id="{17F03060-85EC-4182-8C18-C6EE0D373E4B}"/>
              </a:ext>
            </a:extLst>
          </p:cNvPr>
          <p:cNvSpPr/>
          <p:nvPr/>
        </p:nvSpPr>
        <p:spPr>
          <a:xfrm>
            <a:off x="3974206" y="5126892"/>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612057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2816A0-77C4-4A3F-87BD-A7321E3C84D2}"/>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3" name="Footer Placeholder 2">
            <a:extLst>
              <a:ext uri="{FF2B5EF4-FFF2-40B4-BE49-F238E27FC236}">
                <a16:creationId xmlns:a16="http://schemas.microsoft.com/office/drawing/2014/main" id="{A5FC3464-F026-4C77-9441-55ECA5054D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87D9257-BADE-4D0B-AF0B-D09FE95FA078}"/>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329916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1C48E-F751-45A2-9010-208B81EDBE69}"/>
              </a:ext>
            </a:extLst>
          </p:cNvPr>
          <p:cNvSpPr>
            <a:spLocks noGrp="1"/>
          </p:cNvSpPr>
          <p:nvPr>
            <p:ph type="title"/>
          </p:nvPr>
        </p:nvSpPr>
        <p:spPr>
          <a:xfrm>
            <a:off x="839788" y="457200"/>
            <a:ext cx="3932237" cy="3429000"/>
          </a:xfrm>
        </p:spPr>
        <p:txBody>
          <a:bodyPr anchor="b">
            <a:normAutofit/>
          </a:bodyPr>
          <a:lstStyle>
            <a:lvl1pPr>
              <a:defRPr sz="60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9D501F6-8430-4758-8636-74D68E990EC3}"/>
              </a:ext>
            </a:extLst>
          </p:cNvPr>
          <p:cNvSpPr>
            <a:spLocks noGrp="1"/>
          </p:cNvSpPr>
          <p:nvPr>
            <p:ph idx="1"/>
          </p:nvPr>
        </p:nvSpPr>
        <p:spPr>
          <a:xfrm>
            <a:off x="5303520" y="548640"/>
            <a:ext cx="6053328" cy="5431536"/>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E79DC39-A29C-494C-98B6-999746C5F38A}"/>
              </a:ext>
            </a:extLst>
          </p:cNvPr>
          <p:cNvSpPr>
            <a:spLocks noGrp="1"/>
          </p:cNvSpPr>
          <p:nvPr>
            <p:ph type="body" sz="half" idx="2"/>
          </p:nvPr>
        </p:nvSpPr>
        <p:spPr>
          <a:xfrm>
            <a:off x="839788" y="3977640"/>
            <a:ext cx="3932237"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2584C988-A6DB-469A-B8AA-31866F36E83D}"/>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6" name="Footer Placeholder 5">
            <a:extLst>
              <a:ext uri="{FF2B5EF4-FFF2-40B4-BE49-F238E27FC236}">
                <a16:creationId xmlns:a16="http://schemas.microsoft.com/office/drawing/2014/main" id="{02BC39C3-81EB-4828-9AD3-2F1FAC521E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59376C-9810-49A5-BC9A-4E6A02175273}"/>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B9F96F3A-E64D-4401-B02C-BCD5CAA97CFF}"/>
              </a:ext>
            </a:extLst>
          </p:cNvPr>
          <p:cNvSpPr/>
          <p:nvPr/>
        </p:nvSpPr>
        <p:spPr>
          <a:xfrm rot="5400000">
            <a:off x="2797492"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085883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37704-80BD-41B0-8395-41618EC3AFBC}"/>
              </a:ext>
            </a:extLst>
          </p:cNvPr>
          <p:cNvSpPr>
            <a:spLocks noGrp="1"/>
          </p:cNvSpPr>
          <p:nvPr>
            <p:ph type="title"/>
          </p:nvPr>
        </p:nvSpPr>
        <p:spPr>
          <a:xfrm>
            <a:off x="839788" y="457200"/>
            <a:ext cx="3931920" cy="3429000"/>
          </a:xfrm>
        </p:spPr>
        <p:txBody>
          <a:bodyPr anchor="b">
            <a:normAutofit/>
          </a:bodyPr>
          <a:lstStyle>
            <a:lvl1pPr>
              <a:defRPr sz="60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14DA4032-EC66-4974-BD30-898B60E4B562}"/>
              </a:ext>
            </a:extLst>
          </p:cNvPr>
          <p:cNvSpPr>
            <a:spLocks noGrp="1"/>
          </p:cNvSpPr>
          <p:nvPr>
            <p:ph type="pic" idx="1"/>
          </p:nvPr>
        </p:nvSpPr>
        <p:spPr>
          <a:xfrm>
            <a:off x="5303520" y="548640"/>
            <a:ext cx="6053328" cy="543153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21802D0-5574-4631-BA49-92362F8E40DC}"/>
              </a:ext>
            </a:extLst>
          </p:cNvPr>
          <p:cNvSpPr>
            <a:spLocks noGrp="1"/>
          </p:cNvSpPr>
          <p:nvPr>
            <p:ph type="body" sz="half" idx="2"/>
          </p:nvPr>
        </p:nvSpPr>
        <p:spPr>
          <a:xfrm>
            <a:off x="839788" y="3977640"/>
            <a:ext cx="3931920"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62C2F5B-DDDD-4E64-94A9-99E46F4B06A0}"/>
              </a:ext>
            </a:extLst>
          </p:cNvPr>
          <p:cNvSpPr>
            <a:spLocks noGrp="1"/>
          </p:cNvSpPr>
          <p:nvPr>
            <p:ph type="dt" sz="half" idx="10"/>
          </p:nvPr>
        </p:nvSpPr>
        <p:spPr/>
        <p:txBody>
          <a:bodyPr/>
          <a:lstStyle/>
          <a:p>
            <a:fld id="{72345051-2045-45DA-935E-2E3CA1A69ADC}" type="datetimeFigureOut">
              <a:rPr lang="en-US" smtClean="0"/>
              <a:t>4/4/2023</a:t>
            </a:fld>
            <a:endParaRPr lang="en-US"/>
          </a:p>
        </p:txBody>
      </p:sp>
      <p:sp>
        <p:nvSpPr>
          <p:cNvPr id="6" name="Footer Placeholder 5">
            <a:extLst>
              <a:ext uri="{FF2B5EF4-FFF2-40B4-BE49-F238E27FC236}">
                <a16:creationId xmlns:a16="http://schemas.microsoft.com/office/drawing/2014/main" id="{D4FA8D36-8865-48E7-8249-ED729A5F70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F98C3-0B62-4361-8408-A01F70807CDB}"/>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FE511AB6-FEAF-4549-BA88-0764BD10B63D}"/>
              </a:ext>
            </a:extLst>
          </p:cNvPr>
          <p:cNvSpPr/>
          <p:nvPr/>
        </p:nvSpPr>
        <p:spPr>
          <a:xfrm rot="5400000">
            <a:off x="2798064"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9679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72D13B-FFCB-4650-AD3C-CB50373525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0CA9470-DF15-46A1-BF0E-8A5367A4B0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63047CB-E94D-482F-BACA-681E96C0EC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72345051-2045-45DA-935E-2E3CA1A69ADC}" type="datetimeFigureOut">
              <a:rPr lang="en-US" smtClean="0"/>
              <a:t>4/4/2023</a:t>
            </a:fld>
            <a:endParaRPr lang="en-US" dirty="0"/>
          </a:p>
        </p:txBody>
      </p:sp>
      <p:sp>
        <p:nvSpPr>
          <p:cNvPr id="5" name="Footer Placeholder 4">
            <a:extLst>
              <a:ext uri="{FF2B5EF4-FFF2-40B4-BE49-F238E27FC236}">
                <a16:creationId xmlns:a16="http://schemas.microsoft.com/office/drawing/2014/main" id="{2CFDA4B5-E797-42FC-8B7A-2294DF24A3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78ED201-6D0E-422C-B4EC-566A3DC298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7CD31F4-64FA-4BA0-9498-67783267A8C8}" type="slidenum">
              <a:rPr lang="en-US" smtClean="0"/>
              <a:t>‹#›</a:t>
            </a:fld>
            <a:endParaRPr lang="en-US" dirty="0"/>
          </a:p>
        </p:txBody>
      </p:sp>
    </p:spTree>
    <p:extLst>
      <p:ext uri="{BB962C8B-B14F-4D97-AF65-F5344CB8AC3E}">
        <p14:creationId xmlns:p14="http://schemas.microsoft.com/office/powerpoint/2010/main" val="45489166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79" r:id="rId6"/>
    <p:sldLayoutId id="2147483675" r:id="rId7"/>
    <p:sldLayoutId id="2147483676" r:id="rId8"/>
    <p:sldLayoutId id="2147483677" r:id="rId9"/>
    <p:sldLayoutId id="2147483678" r:id="rId10"/>
    <p:sldLayoutId id="2147483680" r:id="rId11"/>
  </p:sldLayoutIdLst>
  <p:txStyles>
    <p:titleStyle>
      <a:lvl1pPr algn="l" defTabSz="914400" rtl="0" eaLnBrk="1" latinLnBrk="0" hangingPunct="1">
        <a:lnSpc>
          <a:spcPct val="100000"/>
        </a:lnSpc>
        <a:spcBef>
          <a:spcPct val="0"/>
        </a:spcBef>
        <a:buNone/>
        <a:defRPr sz="48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3245F62-CCC4-49E4-B95B-EA6C1E7905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9881FBA-4DA8-4096-AEA1-0F412AD56FC4}"/>
              </a:ext>
            </a:extLst>
          </p:cNvPr>
          <p:cNvSpPr>
            <a:spLocks noGrp="1"/>
          </p:cNvSpPr>
          <p:nvPr>
            <p:ph type="ctrTitle"/>
          </p:nvPr>
        </p:nvSpPr>
        <p:spPr>
          <a:xfrm>
            <a:off x="638882" y="3577456"/>
            <a:ext cx="10909640" cy="1687814"/>
          </a:xfrm>
        </p:spPr>
        <p:txBody>
          <a:bodyPr anchor="b">
            <a:normAutofit/>
          </a:bodyPr>
          <a:lstStyle/>
          <a:p>
            <a:pPr algn="ctr" rtl="1">
              <a:lnSpc>
                <a:spcPct val="90000"/>
              </a:lnSpc>
            </a:pPr>
            <a:r>
              <a:rPr lang="ar-IQ" sz="5500" dirty="0">
                <a:latin typeface="Sakkal Majalla" panose="02000000000000000000" pitchFamily="2" charset="-78"/>
                <a:cs typeface="Sakkal Majalla" panose="02000000000000000000" pitchFamily="2" charset="-78"/>
              </a:rPr>
              <a:t>بۆ چى زانيارييەكانمان لەبير دەچێتەوە؟</a:t>
            </a:r>
            <a:br>
              <a:rPr lang="ar-IQ" sz="5500" dirty="0">
                <a:latin typeface="Sakkal Majalla" panose="02000000000000000000" pitchFamily="2" charset="-78"/>
                <a:cs typeface="Sakkal Majalla" panose="02000000000000000000" pitchFamily="2" charset="-78"/>
              </a:rPr>
            </a:br>
            <a:endParaRPr lang="en-GB" sz="5500" dirty="0">
              <a:latin typeface="Sakkal Majalla" panose="02000000000000000000" pitchFamily="2" charset="-78"/>
              <a:cs typeface="Sakkal Majalla" panose="02000000000000000000" pitchFamily="2" charset="-78"/>
            </a:endParaRPr>
          </a:p>
        </p:txBody>
      </p:sp>
      <p:sp>
        <p:nvSpPr>
          <p:cNvPr id="3" name="Subtitle 2">
            <a:extLst>
              <a:ext uri="{FF2B5EF4-FFF2-40B4-BE49-F238E27FC236}">
                <a16:creationId xmlns:a16="http://schemas.microsoft.com/office/drawing/2014/main" id="{AED16C5E-F896-4F90-9D58-A5D389A7D305}"/>
              </a:ext>
            </a:extLst>
          </p:cNvPr>
          <p:cNvSpPr>
            <a:spLocks noGrp="1"/>
          </p:cNvSpPr>
          <p:nvPr>
            <p:ph type="subTitle" idx="1"/>
          </p:nvPr>
        </p:nvSpPr>
        <p:spPr>
          <a:xfrm>
            <a:off x="638881" y="5660607"/>
            <a:ext cx="10909643" cy="966957"/>
          </a:xfrm>
        </p:spPr>
        <p:txBody>
          <a:bodyPr anchor="t">
            <a:noAutofit/>
          </a:bodyPr>
          <a:lstStyle/>
          <a:p>
            <a:pPr algn="ctr">
              <a:lnSpc>
                <a:spcPct val="100000"/>
              </a:lnSpc>
            </a:pPr>
            <a:r>
              <a:rPr lang="ar-IQ" sz="2000" dirty="0">
                <a:cs typeface="Ali_K_Samik" pitchFamily="2" charset="-78"/>
              </a:rPr>
              <a:t>ئامادة كردنى </a:t>
            </a:r>
          </a:p>
          <a:p>
            <a:pPr algn="ctr">
              <a:lnSpc>
                <a:spcPct val="100000"/>
              </a:lnSpc>
            </a:pPr>
            <a:r>
              <a:rPr lang="ar-IQ" sz="2000" dirty="0">
                <a:cs typeface="Ali_K_Samik" pitchFamily="2" charset="-78"/>
              </a:rPr>
              <a:t>د. سعيد محمد نوري</a:t>
            </a:r>
            <a:endParaRPr lang="en-GB" sz="2000" dirty="0">
              <a:cs typeface="Ali_K_Samik" pitchFamily="2" charset="-78"/>
            </a:endParaRPr>
          </a:p>
        </p:txBody>
      </p:sp>
      <p:pic>
        <p:nvPicPr>
          <p:cNvPr id="5" name="Picture 4">
            <a:extLst>
              <a:ext uri="{FF2B5EF4-FFF2-40B4-BE49-F238E27FC236}">
                <a16:creationId xmlns:a16="http://schemas.microsoft.com/office/drawing/2014/main" id="{BB475F81-6C59-4739-898A-4B7154C7C6F7}"/>
              </a:ext>
            </a:extLst>
          </p:cNvPr>
          <p:cNvPicPr>
            <a:picLocks noChangeAspect="1"/>
          </p:cNvPicPr>
          <p:nvPr/>
        </p:nvPicPr>
        <p:blipFill>
          <a:blip r:embed="rId2"/>
          <a:stretch>
            <a:fillRect/>
          </a:stretch>
        </p:blipFill>
        <p:spPr>
          <a:xfrm>
            <a:off x="4225579" y="644734"/>
            <a:ext cx="4385021" cy="1687814"/>
          </a:xfrm>
          <a:prstGeom prst="rect">
            <a:avLst/>
          </a:prstGeom>
        </p:spPr>
      </p:pic>
      <p:sp>
        <p:nvSpPr>
          <p:cNvPr id="12" name="Rectangle 6">
            <a:extLst>
              <a:ext uri="{FF2B5EF4-FFF2-40B4-BE49-F238E27FC236}">
                <a16:creationId xmlns:a16="http://schemas.microsoft.com/office/drawing/2014/main" id="{E6C0DD6B-6AA3-448F-9B99-8386295BC1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07702" y="5509052"/>
            <a:ext cx="4572000" cy="27432"/>
          </a:xfrm>
          <a:custGeom>
            <a:avLst/>
            <a:gdLst>
              <a:gd name="connsiteX0" fmla="*/ 0 w 4572000"/>
              <a:gd name="connsiteY0" fmla="*/ 0 h 27432"/>
              <a:gd name="connsiteX1" fmla="*/ 607423 w 4572000"/>
              <a:gd name="connsiteY1" fmla="*/ 0 h 27432"/>
              <a:gd name="connsiteX2" fmla="*/ 1123406 w 4572000"/>
              <a:gd name="connsiteY2" fmla="*/ 0 h 27432"/>
              <a:gd name="connsiteX3" fmla="*/ 1685109 w 4572000"/>
              <a:gd name="connsiteY3" fmla="*/ 0 h 27432"/>
              <a:gd name="connsiteX4" fmla="*/ 2383971 w 4572000"/>
              <a:gd name="connsiteY4" fmla="*/ 0 h 27432"/>
              <a:gd name="connsiteX5" fmla="*/ 2991394 w 4572000"/>
              <a:gd name="connsiteY5" fmla="*/ 0 h 27432"/>
              <a:gd name="connsiteX6" fmla="*/ 3553097 w 4572000"/>
              <a:gd name="connsiteY6" fmla="*/ 0 h 27432"/>
              <a:gd name="connsiteX7" fmla="*/ 4572000 w 4572000"/>
              <a:gd name="connsiteY7" fmla="*/ 0 h 27432"/>
              <a:gd name="connsiteX8" fmla="*/ 4572000 w 4572000"/>
              <a:gd name="connsiteY8" fmla="*/ 27432 h 27432"/>
              <a:gd name="connsiteX9" fmla="*/ 3918857 w 4572000"/>
              <a:gd name="connsiteY9" fmla="*/ 27432 h 27432"/>
              <a:gd name="connsiteX10" fmla="*/ 3357154 w 4572000"/>
              <a:gd name="connsiteY10" fmla="*/ 27432 h 27432"/>
              <a:gd name="connsiteX11" fmla="*/ 2612571 w 4572000"/>
              <a:gd name="connsiteY11" fmla="*/ 27432 h 27432"/>
              <a:gd name="connsiteX12" fmla="*/ 2005149 w 4572000"/>
              <a:gd name="connsiteY12" fmla="*/ 27432 h 27432"/>
              <a:gd name="connsiteX13" fmla="*/ 1489166 w 4572000"/>
              <a:gd name="connsiteY13" fmla="*/ 27432 h 27432"/>
              <a:gd name="connsiteX14" fmla="*/ 790303 w 4572000"/>
              <a:gd name="connsiteY14" fmla="*/ 27432 h 27432"/>
              <a:gd name="connsiteX15" fmla="*/ 0 w 4572000"/>
              <a:gd name="connsiteY15" fmla="*/ 27432 h 27432"/>
              <a:gd name="connsiteX16" fmla="*/ 0 w 457200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72000" h="27432" fill="none" extrusionOk="0">
                <a:moveTo>
                  <a:pt x="0" y="0"/>
                </a:moveTo>
                <a:cubicBezTo>
                  <a:pt x="150397" y="-23421"/>
                  <a:pt x="474161" y="9174"/>
                  <a:pt x="607423" y="0"/>
                </a:cubicBezTo>
                <a:cubicBezTo>
                  <a:pt x="740685" y="-9174"/>
                  <a:pt x="868821" y="-4258"/>
                  <a:pt x="1123406" y="0"/>
                </a:cubicBezTo>
                <a:cubicBezTo>
                  <a:pt x="1377991" y="4258"/>
                  <a:pt x="1567664" y="-12410"/>
                  <a:pt x="1685109" y="0"/>
                </a:cubicBezTo>
                <a:cubicBezTo>
                  <a:pt x="1802554" y="12410"/>
                  <a:pt x="2193086" y="-14353"/>
                  <a:pt x="2383971" y="0"/>
                </a:cubicBezTo>
                <a:cubicBezTo>
                  <a:pt x="2574856" y="14353"/>
                  <a:pt x="2697477" y="-26142"/>
                  <a:pt x="2991394" y="0"/>
                </a:cubicBezTo>
                <a:cubicBezTo>
                  <a:pt x="3285311" y="26142"/>
                  <a:pt x="3423667" y="26544"/>
                  <a:pt x="3553097" y="0"/>
                </a:cubicBezTo>
                <a:cubicBezTo>
                  <a:pt x="3682527" y="-26544"/>
                  <a:pt x="4344147" y="50350"/>
                  <a:pt x="4572000" y="0"/>
                </a:cubicBezTo>
                <a:cubicBezTo>
                  <a:pt x="4571027" y="8304"/>
                  <a:pt x="4571522" y="21512"/>
                  <a:pt x="4572000" y="27432"/>
                </a:cubicBezTo>
                <a:cubicBezTo>
                  <a:pt x="4438349" y="5490"/>
                  <a:pt x="4090129" y="31231"/>
                  <a:pt x="3918857" y="27432"/>
                </a:cubicBezTo>
                <a:cubicBezTo>
                  <a:pt x="3747585" y="23633"/>
                  <a:pt x="3498826" y="6883"/>
                  <a:pt x="3357154" y="27432"/>
                </a:cubicBezTo>
                <a:cubicBezTo>
                  <a:pt x="3215482" y="47981"/>
                  <a:pt x="2784289" y="56849"/>
                  <a:pt x="2612571" y="27432"/>
                </a:cubicBezTo>
                <a:cubicBezTo>
                  <a:pt x="2440853" y="-1985"/>
                  <a:pt x="2261292" y="25951"/>
                  <a:pt x="2005149" y="27432"/>
                </a:cubicBezTo>
                <a:cubicBezTo>
                  <a:pt x="1749006" y="28913"/>
                  <a:pt x="1700078" y="34342"/>
                  <a:pt x="1489166" y="27432"/>
                </a:cubicBezTo>
                <a:cubicBezTo>
                  <a:pt x="1278254" y="20522"/>
                  <a:pt x="1077188" y="56916"/>
                  <a:pt x="790303" y="27432"/>
                </a:cubicBezTo>
                <a:cubicBezTo>
                  <a:pt x="503418" y="-2052"/>
                  <a:pt x="359168" y="57044"/>
                  <a:pt x="0" y="27432"/>
                </a:cubicBezTo>
                <a:cubicBezTo>
                  <a:pt x="-1048" y="14992"/>
                  <a:pt x="-1120" y="7447"/>
                  <a:pt x="0" y="0"/>
                </a:cubicBezTo>
                <a:close/>
              </a:path>
              <a:path w="4572000" h="27432" stroke="0" extrusionOk="0">
                <a:moveTo>
                  <a:pt x="0" y="0"/>
                </a:moveTo>
                <a:cubicBezTo>
                  <a:pt x="155698" y="6780"/>
                  <a:pt x="465972" y="13197"/>
                  <a:pt x="607423" y="0"/>
                </a:cubicBezTo>
                <a:cubicBezTo>
                  <a:pt x="748874" y="-13197"/>
                  <a:pt x="1014133" y="22994"/>
                  <a:pt x="1123406" y="0"/>
                </a:cubicBezTo>
                <a:cubicBezTo>
                  <a:pt x="1232679" y="-22994"/>
                  <a:pt x="1639431" y="-2997"/>
                  <a:pt x="1867989" y="0"/>
                </a:cubicBezTo>
                <a:cubicBezTo>
                  <a:pt x="2096547" y="2997"/>
                  <a:pt x="2265668" y="29557"/>
                  <a:pt x="2475411" y="0"/>
                </a:cubicBezTo>
                <a:cubicBezTo>
                  <a:pt x="2685154" y="-29557"/>
                  <a:pt x="2951491" y="73"/>
                  <a:pt x="3082834" y="0"/>
                </a:cubicBezTo>
                <a:cubicBezTo>
                  <a:pt x="3214177" y="-73"/>
                  <a:pt x="3641000" y="-33478"/>
                  <a:pt x="3827417" y="0"/>
                </a:cubicBezTo>
                <a:cubicBezTo>
                  <a:pt x="4013834" y="33478"/>
                  <a:pt x="4345917" y="14255"/>
                  <a:pt x="4572000" y="0"/>
                </a:cubicBezTo>
                <a:cubicBezTo>
                  <a:pt x="4572485" y="9333"/>
                  <a:pt x="4573278" y="19699"/>
                  <a:pt x="4572000" y="27432"/>
                </a:cubicBezTo>
                <a:cubicBezTo>
                  <a:pt x="4318030" y="43025"/>
                  <a:pt x="4161104" y="34314"/>
                  <a:pt x="4010297" y="27432"/>
                </a:cubicBezTo>
                <a:cubicBezTo>
                  <a:pt x="3859490" y="20550"/>
                  <a:pt x="3592529" y="6613"/>
                  <a:pt x="3357154" y="27432"/>
                </a:cubicBezTo>
                <a:cubicBezTo>
                  <a:pt x="3121779" y="48251"/>
                  <a:pt x="2884285" y="3780"/>
                  <a:pt x="2704011" y="27432"/>
                </a:cubicBezTo>
                <a:cubicBezTo>
                  <a:pt x="2523737" y="51084"/>
                  <a:pt x="2295944" y="32081"/>
                  <a:pt x="2096589" y="27432"/>
                </a:cubicBezTo>
                <a:cubicBezTo>
                  <a:pt x="1897234" y="22783"/>
                  <a:pt x="1623782" y="52518"/>
                  <a:pt x="1352006" y="27432"/>
                </a:cubicBezTo>
                <a:cubicBezTo>
                  <a:pt x="1080230" y="2346"/>
                  <a:pt x="869959" y="12864"/>
                  <a:pt x="607423" y="27432"/>
                </a:cubicBezTo>
                <a:cubicBezTo>
                  <a:pt x="344887" y="42000"/>
                  <a:pt x="188100" y="40051"/>
                  <a:pt x="0" y="27432"/>
                </a:cubicBezTo>
                <a:cubicBezTo>
                  <a:pt x="211" y="18145"/>
                  <a:pt x="120" y="6480"/>
                  <a:pt x="0" y="0"/>
                </a:cubicBezTo>
                <a:close/>
              </a:path>
            </a:pathLst>
          </a:custGeom>
          <a:solidFill>
            <a:srgbClr val="EFF541"/>
          </a:solidFill>
          <a:ln w="38100" cap="rnd">
            <a:solidFill>
              <a:srgbClr val="EFF54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26">
            <a:extLst>
              <a:ext uri="{FF2B5EF4-FFF2-40B4-BE49-F238E27FC236}">
                <a16:creationId xmlns:a16="http://schemas.microsoft.com/office/drawing/2014/main" id="{F28B82B1-E269-4325-A665-6CFE5DEE5DE5}"/>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6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16" name="Footer Placeholder 27">
            <a:extLst>
              <a:ext uri="{FF2B5EF4-FFF2-40B4-BE49-F238E27FC236}">
                <a16:creationId xmlns:a16="http://schemas.microsoft.com/office/drawing/2014/main" id="{7C700527-76FD-4DF4-A597-6F5E089CA0C2}"/>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6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18" name="Slide Number Placeholder 28">
            <a:extLst>
              <a:ext uri="{FF2B5EF4-FFF2-40B4-BE49-F238E27FC236}">
                <a16:creationId xmlns:a16="http://schemas.microsoft.com/office/drawing/2014/main" id="{B5EA49A9-01EB-4D60-A392-7DC9B625D67D}"/>
              </a:ext>
              <a:ext uri="{C183D7F6-B498-43B3-948B-1728B52AA6E4}">
                <adec:decorative xmlns:adec="http://schemas.microsoft.com/office/drawing/2017/decorative" val="1"/>
              </a:ext>
            </a:extLst>
          </p:cNvPr>
          <p:cNvSpPr txBox="1">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6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Tree>
    <p:extLst>
      <p:ext uri="{BB962C8B-B14F-4D97-AF65-F5344CB8AC3E}">
        <p14:creationId xmlns:p14="http://schemas.microsoft.com/office/powerpoint/2010/main" val="14242689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DB7BD9-C981-4A90-B88A-5A6EE984AB07}"/>
              </a:ext>
            </a:extLst>
          </p:cNvPr>
          <p:cNvSpPr>
            <a:spLocks noGrp="1"/>
          </p:cNvSpPr>
          <p:nvPr>
            <p:ph type="title"/>
          </p:nvPr>
        </p:nvSpPr>
        <p:spPr>
          <a:xfrm>
            <a:off x="640080" y="1413803"/>
            <a:ext cx="4368602" cy="868407"/>
          </a:xfrm>
        </p:spPr>
        <p:txBody>
          <a:bodyPr anchor="b">
            <a:normAutofit/>
          </a:bodyPr>
          <a:lstStyle/>
          <a:p>
            <a:pPr algn="ctr" rtl="1"/>
            <a:r>
              <a:rPr lang="ar-IQ" sz="4400" dirty="0">
                <a:cs typeface="Ali_K_Samik" pitchFamily="2" charset="-78"/>
              </a:rPr>
              <a:t>لة بيرضوونةوة</a:t>
            </a:r>
            <a:endParaRPr lang="en-GB" sz="4400" dirty="0">
              <a:cs typeface="Ali_K_Samik" pitchFamily="2" charset="-78"/>
            </a:endParaRPr>
          </a:p>
        </p:txBody>
      </p:sp>
      <p:sp>
        <p:nvSpPr>
          <p:cNvPr id="11" name="Rectangle 6">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5093" y="2563839"/>
            <a:ext cx="3931920" cy="27432"/>
          </a:xfrm>
          <a:custGeom>
            <a:avLst/>
            <a:gdLst>
              <a:gd name="connsiteX0" fmla="*/ 0 w 3931920"/>
              <a:gd name="connsiteY0" fmla="*/ 0 h 27432"/>
              <a:gd name="connsiteX1" fmla="*/ 733958 w 3931920"/>
              <a:gd name="connsiteY1" fmla="*/ 0 h 27432"/>
              <a:gd name="connsiteX2" fmla="*/ 1428598 w 3931920"/>
              <a:gd name="connsiteY2" fmla="*/ 0 h 27432"/>
              <a:gd name="connsiteX3" fmla="*/ 2123237 w 3931920"/>
              <a:gd name="connsiteY3" fmla="*/ 0 h 27432"/>
              <a:gd name="connsiteX4" fmla="*/ 2660599 w 3931920"/>
              <a:gd name="connsiteY4" fmla="*/ 0 h 27432"/>
              <a:gd name="connsiteX5" fmla="*/ 3237281 w 3931920"/>
              <a:gd name="connsiteY5" fmla="*/ 0 h 27432"/>
              <a:gd name="connsiteX6" fmla="*/ 3931920 w 3931920"/>
              <a:gd name="connsiteY6" fmla="*/ 0 h 27432"/>
              <a:gd name="connsiteX7" fmla="*/ 3931920 w 3931920"/>
              <a:gd name="connsiteY7" fmla="*/ 27432 h 27432"/>
              <a:gd name="connsiteX8" fmla="*/ 3276600 w 3931920"/>
              <a:gd name="connsiteY8" fmla="*/ 27432 h 27432"/>
              <a:gd name="connsiteX9" fmla="*/ 2739238 w 3931920"/>
              <a:gd name="connsiteY9" fmla="*/ 27432 h 27432"/>
              <a:gd name="connsiteX10" fmla="*/ 2201875 w 3931920"/>
              <a:gd name="connsiteY10" fmla="*/ 27432 h 27432"/>
              <a:gd name="connsiteX11" fmla="*/ 1507236 w 3931920"/>
              <a:gd name="connsiteY11" fmla="*/ 27432 h 27432"/>
              <a:gd name="connsiteX12" fmla="*/ 930554 w 3931920"/>
              <a:gd name="connsiteY12" fmla="*/ 27432 h 27432"/>
              <a:gd name="connsiteX13" fmla="*/ 0 w 3931920"/>
              <a:gd name="connsiteY13" fmla="*/ 27432 h 27432"/>
              <a:gd name="connsiteX14" fmla="*/ 0 w 3931920"/>
              <a:gd name="connsiteY14"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31920" h="27432" fill="none" extrusionOk="0">
                <a:moveTo>
                  <a:pt x="0" y="0"/>
                </a:moveTo>
                <a:cubicBezTo>
                  <a:pt x="245351" y="16874"/>
                  <a:pt x="509174" y="13736"/>
                  <a:pt x="733958" y="0"/>
                </a:cubicBezTo>
                <a:cubicBezTo>
                  <a:pt x="958742" y="-13736"/>
                  <a:pt x="1245406" y="-17215"/>
                  <a:pt x="1428598" y="0"/>
                </a:cubicBezTo>
                <a:cubicBezTo>
                  <a:pt x="1611790" y="17215"/>
                  <a:pt x="1930525" y="20562"/>
                  <a:pt x="2123237" y="0"/>
                </a:cubicBezTo>
                <a:cubicBezTo>
                  <a:pt x="2315949" y="-20562"/>
                  <a:pt x="2485508" y="11332"/>
                  <a:pt x="2660599" y="0"/>
                </a:cubicBezTo>
                <a:cubicBezTo>
                  <a:pt x="2835690" y="-11332"/>
                  <a:pt x="3075198" y="-14809"/>
                  <a:pt x="3237281" y="0"/>
                </a:cubicBezTo>
                <a:cubicBezTo>
                  <a:pt x="3399364" y="14809"/>
                  <a:pt x="3745084" y="-4992"/>
                  <a:pt x="3931920" y="0"/>
                </a:cubicBezTo>
                <a:cubicBezTo>
                  <a:pt x="3930963" y="8431"/>
                  <a:pt x="3931571" y="14612"/>
                  <a:pt x="3931920" y="27432"/>
                </a:cubicBezTo>
                <a:cubicBezTo>
                  <a:pt x="3765435" y="40792"/>
                  <a:pt x="3452398" y="38703"/>
                  <a:pt x="3276600" y="27432"/>
                </a:cubicBezTo>
                <a:cubicBezTo>
                  <a:pt x="3100802" y="16161"/>
                  <a:pt x="2914889" y="26998"/>
                  <a:pt x="2739238" y="27432"/>
                </a:cubicBezTo>
                <a:cubicBezTo>
                  <a:pt x="2563587" y="27866"/>
                  <a:pt x="2395484" y="39154"/>
                  <a:pt x="2201875" y="27432"/>
                </a:cubicBezTo>
                <a:cubicBezTo>
                  <a:pt x="2008266" y="15710"/>
                  <a:pt x="1781367" y="4899"/>
                  <a:pt x="1507236" y="27432"/>
                </a:cubicBezTo>
                <a:cubicBezTo>
                  <a:pt x="1233105" y="49965"/>
                  <a:pt x="1075495" y="47542"/>
                  <a:pt x="930554" y="27432"/>
                </a:cubicBezTo>
                <a:cubicBezTo>
                  <a:pt x="785613" y="7322"/>
                  <a:pt x="268930" y="30433"/>
                  <a:pt x="0" y="27432"/>
                </a:cubicBezTo>
                <a:cubicBezTo>
                  <a:pt x="226" y="18208"/>
                  <a:pt x="-648" y="12891"/>
                  <a:pt x="0" y="0"/>
                </a:cubicBezTo>
                <a:close/>
              </a:path>
              <a:path w="3931920" h="27432" stroke="0" extrusionOk="0">
                <a:moveTo>
                  <a:pt x="0" y="0"/>
                </a:moveTo>
                <a:cubicBezTo>
                  <a:pt x="278269" y="4786"/>
                  <a:pt x="349028" y="-10422"/>
                  <a:pt x="616001" y="0"/>
                </a:cubicBezTo>
                <a:cubicBezTo>
                  <a:pt x="882974" y="10422"/>
                  <a:pt x="931617" y="-15515"/>
                  <a:pt x="1153363" y="0"/>
                </a:cubicBezTo>
                <a:cubicBezTo>
                  <a:pt x="1375109" y="15515"/>
                  <a:pt x="1704089" y="-3631"/>
                  <a:pt x="1887322" y="0"/>
                </a:cubicBezTo>
                <a:cubicBezTo>
                  <a:pt x="2070555" y="3631"/>
                  <a:pt x="2344155" y="2213"/>
                  <a:pt x="2503322" y="0"/>
                </a:cubicBezTo>
                <a:cubicBezTo>
                  <a:pt x="2662489" y="-2213"/>
                  <a:pt x="2976859" y="26691"/>
                  <a:pt x="3119323" y="0"/>
                </a:cubicBezTo>
                <a:cubicBezTo>
                  <a:pt x="3261787" y="-26691"/>
                  <a:pt x="3588171" y="-28651"/>
                  <a:pt x="3931920" y="0"/>
                </a:cubicBezTo>
                <a:cubicBezTo>
                  <a:pt x="3930565" y="9524"/>
                  <a:pt x="3930718" y="13975"/>
                  <a:pt x="3931920" y="27432"/>
                </a:cubicBezTo>
                <a:cubicBezTo>
                  <a:pt x="3664329" y="4021"/>
                  <a:pt x="3437686" y="14511"/>
                  <a:pt x="3276600" y="27432"/>
                </a:cubicBezTo>
                <a:cubicBezTo>
                  <a:pt x="3115514" y="40353"/>
                  <a:pt x="2913592" y="48967"/>
                  <a:pt x="2739238" y="27432"/>
                </a:cubicBezTo>
                <a:cubicBezTo>
                  <a:pt x="2564884" y="5897"/>
                  <a:pt x="2294049" y="39820"/>
                  <a:pt x="2083918" y="27432"/>
                </a:cubicBezTo>
                <a:cubicBezTo>
                  <a:pt x="1873787" y="15044"/>
                  <a:pt x="1718903" y="21388"/>
                  <a:pt x="1428598" y="27432"/>
                </a:cubicBezTo>
                <a:cubicBezTo>
                  <a:pt x="1138293" y="33476"/>
                  <a:pt x="952209" y="50441"/>
                  <a:pt x="812597" y="27432"/>
                </a:cubicBezTo>
                <a:cubicBezTo>
                  <a:pt x="672985" y="4423"/>
                  <a:pt x="305800" y="28240"/>
                  <a:pt x="0" y="27432"/>
                </a:cubicBezTo>
                <a:cubicBezTo>
                  <a:pt x="-800" y="16780"/>
                  <a:pt x="-583" y="12910"/>
                  <a:pt x="0" y="0"/>
                </a:cubicBezTo>
                <a:close/>
              </a:path>
            </a:pathLst>
          </a:custGeom>
          <a:solidFill>
            <a:srgbClr val="71D2E2"/>
          </a:solidFill>
          <a:ln w="38100" cap="rnd">
            <a:solidFill>
              <a:srgbClr val="71D2E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68E0010-9FB1-41BD-B06F-FB17E520E184}"/>
              </a:ext>
            </a:extLst>
          </p:cNvPr>
          <p:cNvSpPr>
            <a:spLocks noGrp="1"/>
          </p:cNvSpPr>
          <p:nvPr>
            <p:ph idx="1"/>
          </p:nvPr>
        </p:nvSpPr>
        <p:spPr>
          <a:xfrm>
            <a:off x="351692" y="2872899"/>
            <a:ext cx="4656990" cy="3320668"/>
          </a:xfrm>
        </p:spPr>
        <p:txBody>
          <a:bodyPr>
            <a:normAutofit/>
          </a:bodyPr>
          <a:lstStyle/>
          <a:p>
            <a:pPr algn="r" rtl="1">
              <a:lnSpc>
                <a:spcPct val="100000"/>
              </a:lnSpc>
              <a:buFont typeface="Wingdings" panose="05000000000000000000" pitchFamily="2" charset="2"/>
              <a:buChar char="v"/>
            </a:pPr>
            <a:endParaRPr lang="ar-IQ" sz="2000" dirty="0">
              <a:cs typeface="Ali_K_Alwand" pitchFamily="2" charset="-78"/>
            </a:endParaRPr>
          </a:p>
          <a:p>
            <a:pPr marL="0" indent="0" algn="ctr" rtl="1">
              <a:lnSpc>
                <a:spcPct val="100000"/>
              </a:lnSpc>
              <a:buNone/>
            </a:pPr>
            <a:r>
              <a:rPr lang="ar-IQ" sz="2400" dirty="0">
                <a:solidFill>
                  <a:srgbClr val="C00000"/>
                </a:solidFill>
                <a:cs typeface="Ali_K_Samik" pitchFamily="2" charset="-78"/>
              </a:rPr>
              <a:t>تيَطةيشتنى طشتى</a:t>
            </a:r>
            <a:endParaRPr lang="ar-IQ" sz="2000" dirty="0">
              <a:cs typeface="Ali_K_Alwand" pitchFamily="2" charset="-78"/>
            </a:endParaRPr>
          </a:p>
          <a:p>
            <a:pPr algn="r" rtl="1">
              <a:lnSpc>
                <a:spcPct val="100000"/>
              </a:lnSpc>
              <a:buFont typeface="Wingdings" panose="05000000000000000000" pitchFamily="2" charset="2"/>
              <a:buChar char="v"/>
            </a:pPr>
            <a:endParaRPr lang="ar-IQ" sz="2000" dirty="0">
              <a:cs typeface="Ali_K_Alwand" pitchFamily="2" charset="-78"/>
            </a:endParaRPr>
          </a:p>
          <a:p>
            <a:pPr marL="0" indent="0" algn="ctr" rtl="1">
              <a:lnSpc>
                <a:spcPct val="100000"/>
              </a:lnSpc>
              <a:buNone/>
            </a:pPr>
            <a:r>
              <a:rPr lang="ar-IQ" sz="2000" dirty="0">
                <a:cs typeface="Ali_K_Alwand" pitchFamily="2" charset="-78"/>
              </a:rPr>
              <a:t>"لة بيرضوونةوة ئاماذةية </a:t>
            </a:r>
            <a:r>
              <a:rPr lang="ar-IQ" sz="2400" dirty="0">
                <a:cs typeface="Ali_K_Samik" pitchFamily="2" charset="-78"/>
              </a:rPr>
              <a:t>بؤ بزر بوونى زانيارييةكان لة يادطا، بة شيَوةيةك ئةستةم دةبيَت بة بيربيَنةوة</a:t>
            </a:r>
            <a:r>
              <a:rPr lang="ar-IQ" sz="2000" dirty="0">
                <a:cs typeface="Ali_K_Alwand" pitchFamily="2" charset="-78"/>
              </a:rPr>
              <a:t>".</a:t>
            </a:r>
            <a:endParaRPr lang="en-GB" sz="2000" dirty="0">
              <a:cs typeface="Ali_K_Alwand" pitchFamily="2" charset="-78"/>
            </a:endParaRPr>
          </a:p>
        </p:txBody>
      </p:sp>
      <p:pic>
        <p:nvPicPr>
          <p:cNvPr id="4" name="Picture 3">
            <a:extLst>
              <a:ext uri="{FF2B5EF4-FFF2-40B4-BE49-F238E27FC236}">
                <a16:creationId xmlns:a16="http://schemas.microsoft.com/office/drawing/2014/main" id="{6C8A6ADA-1C51-4A11-ABFC-A872E041A2C1}"/>
              </a:ext>
            </a:extLst>
          </p:cNvPr>
          <p:cNvPicPr>
            <a:picLocks noChangeAspect="1"/>
          </p:cNvPicPr>
          <p:nvPr/>
        </p:nvPicPr>
        <p:blipFill rotWithShape="1">
          <a:blip r:embed="rId2"/>
          <a:srcRect l="25897" r="26460"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2453751398"/>
      </p:ext>
    </p:extLst>
  </p:cSld>
  <p:clrMapOvr>
    <a:masterClrMapping/>
  </p:clrMapOvr>
  <mc:AlternateContent xmlns:mc="http://schemas.openxmlformats.org/markup-compatibility/2006" xmlns:p14="http://schemas.microsoft.com/office/powerpoint/2010/main">
    <mc:Choice Requires="p14">
      <p:transition spd="slow" p14:dur="4000">
        <p14:vortex dir="u"/>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72DE4C0-EE12-4CAC-98CF-A89349319A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29CF03F-5E6E-4B23-89A5-81548BA4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rgbClr val="F1F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C136A5B-11BB-49D2-B7FA-B41A38437C50}"/>
              </a:ext>
            </a:extLst>
          </p:cNvPr>
          <p:cNvSpPr>
            <a:spLocks noGrp="1"/>
          </p:cNvSpPr>
          <p:nvPr>
            <p:ph type="title"/>
          </p:nvPr>
        </p:nvSpPr>
        <p:spPr>
          <a:xfrm>
            <a:off x="5470222" y="461772"/>
            <a:ext cx="5024276" cy="1783080"/>
          </a:xfrm>
        </p:spPr>
        <p:txBody>
          <a:bodyPr anchor="b">
            <a:normAutofit/>
          </a:bodyPr>
          <a:lstStyle/>
          <a:p>
            <a:pPr algn="ctr" rtl="1">
              <a:lnSpc>
                <a:spcPct val="90000"/>
              </a:lnSpc>
            </a:pPr>
            <a:r>
              <a:rPr lang="ar-IQ" sz="4400" dirty="0">
                <a:solidFill>
                  <a:schemeClr val="bg1"/>
                </a:solidFill>
                <a:cs typeface="Ali_K_Samik" pitchFamily="2" charset="-78"/>
              </a:rPr>
              <a:t>لة بيرضوونةوة</a:t>
            </a:r>
            <a:br>
              <a:rPr lang="ar-IQ" sz="4400" dirty="0">
                <a:solidFill>
                  <a:schemeClr val="bg1"/>
                </a:solidFill>
                <a:cs typeface="Ali_K_Samik" pitchFamily="2" charset="-78"/>
              </a:rPr>
            </a:br>
            <a:r>
              <a:rPr lang="ar-IQ" sz="2000" dirty="0">
                <a:solidFill>
                  <a:schemeClr val="bg1"/>
                </a:solidFill>
                <a:cs typeface="Ali_K_Samik" pitchFamily="2" charset="-78"/>
              </a:rPr>
              <a:t>تةواوكةر</a:t>
            </a:r>
            <a:endParaRPr lang="en-GB" sz="2000" dirty="0">
              <a:solidFill>
                <a:schemeClr val="bg1"/>
              </a:solidFill>
            </a:endParaRPr>
          </a:p>
        </p:txBody>
      </p:sp>
      <p:sp>
        <p:nvSpPr>
          <p:cNvPr id="13" name="Rectangle 6">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6" y="2395728"/>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45B9758B-652A-4A49-9AE5-A11E1263CE23}"/>
              </a:ext>
            </a:extLst>
          </p:cNvPr>
          <p:cNvSpPr>
            <a:spLocks noGrp="1"/>
          </p:cNvSpPr>
          <p:nvPr>
            <p:ph idx="1"/>
          </p:nvPr>
        </p:nvSpPr>
        <p:spPr>
          <a:xfrm>
            <a:off x="4654296" y="2706624"/>
            <a:ext cx="6894576" cy="4004368"/>
          </a:xfrm>
        </p:spPr>
        <p:txBody>
          <a:bodyPr>
            <a:normAutofit/>
          </a:bodyPr>
          <a:lstStyle/>
          <a:p>
            <a:pPr algn="r" rtl="1">
              <a:buFont typeface="Wingdings" panose="05000000000000000000" pitchFamily="2" charset="2"/>
              <a:buChar char="v"/>
            </a:pPr>
            <a:endParaRPr lang="ar-IQ" dirty="0">
              <a:solidFill>
                <a:schemeClr val="bg1"/>
              </a:solidFill>
              <a:cs typeface="Ali_K_Alwand" pitchFamily="2" charset="-78"/>
            </a:endParaRPr>
          </a:p>
          <a:p>
            <a:pPr marL="0" indent="0" algn="ctr" rtl="1">
              <a:buNone/>
            </a:pPr>
            <a:r>
              <a:rPr lang="ar-IQ" sz="2400" dirty="0">
                <a:solidFill>
                  <a:schemeClr val="bg1"/>
                </a:solidFill>
                <a:cs typeface="Ali_K_Samik" pitchFamily="2" charset="-78"/>
              </a:rPr>
              <a:t>ليَكدانةوةى هاوضةرخ</a:t>
            </a:r>
          </a:p>
          <a:p>
            <a:pPr marL="0" indent="0" algn="ctr" rtl="1">
              <a:buNone/>
            </a:pPr>
            <a:endParaRPr lang="ar-IQ" sz="2400" dirty="0">
              <a:solidFill>
                <a:schemeClr val="bg1"/>
              </a:solidFill>
              <a:cs typeface="Ali_K_Alwand" pitchFamily="2" charset="-78"/>
            </a:endParaRPr>
          </a:p>
          <a:p>
            <a:pPr marL="0" indent="0" algn="ctr" rtl="1">
              <a:buNone/>
            </a:pPr>
            <a:r>
              <a:rPr lang="ar-IQ" sz="2600" dirty="0">
                <a:solidFill>
                  <a:srgbClr val="C00000"/>
                </a:solidFill>
                <a:cs typeface="Ali_K_Samik" pitchFamily="2" charset="-78"/>
              </a:rPr>
              <a:t>زانيارييةكان وون نابن لةيادطا، </a:t>
            </a:r>
            <a:r>
              <a:rPr lang="ar-IQ" sz="2200" dirty="0">
                <a:solidFill>
                  <a:schemeClr val="bg1"/>
                </a:solidFill>
                <a:cs typeface="Ali_K_Alwand" pitchFamily="2" charset="-78"/>
              </a:rPr>
              <a:t>بةلَكو تاك سةركةوتوو نابيَت لة ناسينةوة و طةرِاندنةوةى.</a:t>
            </a:r>
          </a:p>
          <a:p>
            <a:pPr marL="0" indent="0" algn="r" rtl="1">
              <a:buNone/>
            </a:pPr>
            <a:endParaRPr lang="ar-IQ" dirty="0">
              <a:solidFill>
                <a:schemeClr val="bg1"/>
              </a:solidFill>
              <a:cs typeface="Ali_K_Alwand" pitchFamily="2" charset="-78"/>
            </a:endParaRPr>
          </a:p>
          <a:p>
            <a:pPr marL="0" indent="0" algn="r" rtl="1">
              <a:buNone/>
            </a:pPr>
            <a:r>
              <a:rPr lang="ar-IQ" sz="1300" dirty="0">
                <a:solidFill>
                  <a:schemeClr val="bg1"/>
                </a:solidFill>
                <a:cs typeface="Ali_K_Alwand" pitchFamily="2" charset="-78"/>
              </a:rPr>
              <a:t>تويَذينةوة فسيؤلؤذيةكان هاوضةرخةكان: وروذاندنى هةندىَ شويَنى تايبةت لة ميَشك بة كارةبا ئةطةرةكانى بة بيرهاتنةوةى زانيارييةكان لاى تاكةكان بةهيَزتر دةكات.</a:t>
            </a:r>
            <a:endParaRPr lang="en-GB" sz="1300" dirty="0">
              <a:solidFill>
                <a:schemeClr val="bg1"/>
              </a:solidFill>
              <a:cs typeface="Ali_K_Alwand" pitchFamily="2" charset="-78"/>
            </a:endParaRPr>
          </a:p>
          <a:p>
            <a:pPr algn="r"/>
            <a:endParaRPr lang="en-GB" dirty="0">
              <a:solidFill>
                <a:schemeClr val="bg1"/>
              </a:solidFill>
            </a:endParaRPr>
          </a:p>
        </p:txBody>
      </p:sp>
      <p:pic>
        <p:nvPicPr>
          <p:cNvPr id="4" name="Picture 3">
            <a:extLst>
              <a:ext uri="{FF2B5EF4-FFF2-40B4-BE49-F238E27FC236}">
                <a16:creationId xmlns:a16="http://schemas.microsoft.com/office/drawing/2014/main" id="{F33B06B5-E9E3-4F6F-96AC-460EF83F2FF2}"/>
              </a:ext>
            </a:extLst>
          </p:cNvPr>
          <p:cNvPicPr>
            <a:picLocks noChangeAspect="1"/>
          </p:cNvPicPr>
          <p:nvPr/>
        </p:nvPicPr>
        <p:blipFill rotWithShape="1">
          <a:blip r:embed="rId2"/>
          <a:srcRect l="26845" r="40350" b="1"/>
          <a:stretch/>
        </p:blipFill>
        <p:spPr>
          <a:xfrm>
            <a:off x="20" y="10"/>
            <a:ext cx="4053550" cy="6857989"/>
          </a:xfrm>
          <a:custGeom>
            <a:avLst/>
            <a:gdLst/>
            <a:ahLst/>
            <a:cxnLst/>
            <a:rect l="l" t="t" r="r" b="b"/>
            <a:pathLst>
              <a:path w="4053570" h="6857999">
                <a:moveTo>
                  <a:pt x="0" y="0"/>
                </a:moveTo>
                <a:lnTo>
                  <a:pt x="4022851" y="0"/>
                </a:lnTo>
                <a:lnTo>
                  <a:pt x="4023684" y="7069"/>
                </a:lnTo>
                <a:cubicBezTo>
                  <a:pt x="4038634" y="90834"/>
                  <a:pt x="4036100" y="175741"/>
                  <a:pt x="4040154" y="260014"/>
                </a:cubicBezTo>
                <a:cubicBezTo>
                  <a:pt x="4044969" y="363071"/>
                  <a:pt x="4038888" y="466508"/>
                  <a:pt x="4036607" y="569818"/>
                </a:cubicBezTo>
                <a:cubicBezTo>
                  <a:pt x="4034833" y="657771"/>
                  <a:pt x="4026091" y="745598"/>
                  <a:pt x="4028752" y="833678"/>
                </a:cubicBezTo>
                <a:cubicBezTo>
                  <a:pt x="4028942" y="836724"/>
                  <a:pt x="4028942" y="839770"/>
                  <a:pt x="4028752" y="842816"/>
                </a:cubicBezTo>
                <a:cubicBezTo>
                  <a:pt x="4020643" y="939653"/>
                  <a:pt x="4020643" y="1036998"/>
                  <a:pt x="4028752" y="1133836"/>
                </a:cubicBezTo>
                <a:cubicBezTo>
                  <a:pt x="4031324" y="1174144"/>
                  <a:pt x="4030602" y="1214593"/>
                  <a:pt x="4026598" y="1254787"/>
                </a:cubicBezTo>
                <a:cubicBezTo>
                  <a:pt x="4022797" y="1305935"/>
                  <a:pt x="4010634" y="1357844"/>
                  <a:pt x="4019376" y="1408610"/>
                </a:cubicBezTo>
                <a:cubicBezTo>
                  <a:pt x="4025065" y="1450430"/>
                  <a:pt x="4028194" y="1492566"/>
                  <a:pt x="4028752" y="1534766"/>
                </a:cubicBezTo>
                <a:cubicBezTo>
                  <a:pt x="4033186" y="1629192"/>
                  <a:pt x="4029005" y="1724125"/>
                  <a:pt x="4027358" y="1818805"/>
                </a:cubicBezTo>
                <a:cubicBezTo>
                  <a:pt x="4025584" y="1929096"/>
                  <a:pt x="4028372" y="2039387"/>
                  <a:pt x="4019503" y="2149804"/>
                </a:cubicBezTo>
                <a:cubicBezTo>
                  <a:pt x="4014625" y="2239001"/>
                  <a:pt x="4014625" y="2328401"/>
                  <a:pt x="4019503" y="2417598"/>
                </a:cubicBezTo>
                <a:cubicBezTo>
                  <a:pt x="4021910" y="2499333"/>
                  <a:pt x="4034200" y="2580306"/>
                  <a:pt x="4032173" y="2662929"/>
                </a:cubicBezTo>
                <a:cubicBezTo>
                  <a:pt x="4029765" y="2759258"/>
                  <a:pt x="4018363" y="2855334"/>
                  <a:pt x="4021910" y="2951918"/>
                </a:cubicBezTo>
                <a:cubicBezTo>
                  <a:pt x="4023557" y="2997989"/>
                  <a:pt x="4023684" y="3044060"/>
                  <a:pt x="4024571" y="3090130"/>
                </a:cubicBezTo>
                <a:cubicBezTo>
                  <a:pt x="4025711" y="3145593"/>
                  <a:pt x="4035720" y="3200928"/>
                  <a:pt x="4030145" y="3256264"/>
                </a:cubicBezTo>
                <a:cubicBezTo>
                  <a:pt x="4020897" y="3348533"/>
                  <a:pt x="3996951" y="3439278"/>
                  <a:pt x="4011901" y="3533831"/>
                </a:cubicBezTo>
                <a:cubicBezTo>
                  <a:pt x="4020136" y="3585867"/>
                  <a:pt x="4029385" y="3638030"/>
                  <a:pt x="4034200" y="3690573"/>
                </a:cubicBezTo>
                <a:cubicBezTo>
                  <a:pt x="4038381" y="3737532"/>
                  <a:pt x="4048896" y="3785253"/>
                  <a:pt x="4040914" y="3831958"/>
                </a:cubicBezTo>
                <a:cubicBezTo>
                  <a:pt x="4034073" y="3871937"/>
                  <a:pt x="4037620" y="3911916"/>
                  <a:pt x="4032299" y="3951895"/>
                </a:cubicBezTo>
                <a:cubicBezTo>
                  <a:pt x="4025331" y="4004311"/>
                  <a:pt x="4021657" y="4057616"/>
                  <a:pt x="4016336" y="4110414"/>
                </a:cubicBezTo>
                <a:cubicBezTo>
                  <a:pt x="4011648" y="4158261"/>
                  <a:pt x="4007974" y="4205982"/>
                  <a:pt x="4020643" y="4250911"/>
                </a:cubicBezTo>
                <a:cubicBezTo>
                  <a:pt x="4051684" y="4363994"/>
                  <a:pt x="4034707" y="4476442"/>
                  <a:pt x="4023051" y="4588763"/>
                </a:cubicBezTo>
                <a:cubicBezTo>
                  <a:pt x="4017349" y="4643337"/>
                  <a:pt x="4008987" y="4701084"/>
                  <a:pt x="4021657" y="4751090"/>
                </a:cubicBezTo>
                <a:cubicBezTo>
                  <a:pt x="4044969" y="4839804"/>
                  <a:pt x="4026725" y="4924077"/>
                  <a:pt x="4016589" y="5009238"/>
                </a:cubicBezTo>
                <a:cubicBezTo>
                  <a:pt x="4004363" y="5092546"/>
                  <a:pt x="4006124" y="5177301"/>
                  <a:pt x="4021784" y="5260026"/>
                </a:cubicBezTo>
                <a:cubicBezTo>
                  <a:pt x="4034200" y="5318407"/>
                  <a:pt x="4034200" y="5377804"/>
                  <a:pt x="4035720" y="5436566"/>
                </a:cubicBezTo>
                <a:cubicBezTo>
                  <a:pt x="4036607" y="5473373"/>
                  <a:pt x="4023051" y="5510813"/>
                  <a:pt x="4014055" y="5547492"/>
                </a:cubicBezTo>
                <a:cubicBezTo>
                  <a:pt x="3997965" y="5613743"/>
                  <a:pt x="3992137" y="5681008"/>
                  <a:pt x="4014055" y="5745609"/>
                </a:cubicBezTo>
                <a:cubicBezTo>
                  <a:pt x="4044589" y="5835085"/>
                  <a:pt x="4062073" y="5924561"/>
                  <a:pt x="4049403" y="6019242"/>
                </a:cubicBezTo>
                <a:cubicBezTo>
                  <a:pt x="4042055" y="6077623"/>
                  <a:pt x="4040408" y="6137274"/>
                  <a:pt x="4029385" y="6194894"/>
                </a:cubicBezTo>
                <a:cubicBezTo>
                  <a:pt x="4011268" y="6290463"/>
                  <a:pt x="4017729" y="6385396"/>
                  <a:pt x="4032173" y="6479568"/>
                </a:cubicBezTo>
                <a:cubicBezTo>
                  <a:pt x="4042321" y="6558257"/>
                  <a:pt x="4043423" y="6637846"/>
                  <a:pt x="4035467" y="6716775"/>
                </a:cubicBezTo>
                <a:lnTo>
                  <a:pt x="4025707" y="6857999"/>
                </a:lnTo>
                <a:lnTo>
                  <a:pt x="0" y="6857999"/>
                </a:lnTo>
                <a:close/>
              </a:path>
            </a:pathLst>
          </a:custGeom>
        </p:spPr>
      </p:pic>
    </p:spTree>
    <p:extLst>
      <p:ext uri="{BB962C8B-B14F-4D97-AF65-F5344CB8AC3E}">
        <p14:creationId xmlns:p14="http://schemas.microsoft.com/office/powerpoint/2010/main" val="746855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3"/>
          <p:cNvGrpSpPr/>
          <p:nvPr/>
        </p:nvGrpSpPr>
        <p:grpSpPr>
          <a:xfrm rot="2749472">
            <a:off x="4932727" y="2170705"/>
            <a:ext cx="2803975" cy="2821020"/>
            <a:chOff x="3655139" y="2262242"/>
            <a:chExt cx="2102981" cy="2115765"/>
          </a:xfrm>
          <a:solidFill>
            <a:srgbClr val="C00000"/>
          </a:solidFill>
          <a:effectLst>
            <a:outerShdw blurRad="152400" dist="889000" dir="5400000" sx="90000" sy="-19000" rotWithShape="0">
              <a:prstClr val="black">
                <a:alpha val="15000"/>
              </a:prstClr>
            </a:outerShdw>
          </a:effectLst>
        </p:grpSpPr>
        <p:sp>
          <p:nvSpPr>
            <p:cNvPr id="37" name="Cube 36"/>
            <p:cNvSpPr/>
            <p:nvPr/>
          </p:nvSpPr>
          <p:spPr>
            <a:xfrm>
              <a:off x="3655139" y="2262242"/>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Cube 35"/>
            <p:cNvSpPr/>
            <p:nvPr/>
          </p:nvSpPr>
          <p:spPr>
            <a:xfrm>
              <a:off x="4541966" y="3161855"/>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5" name="Cube 34"/>
            <p:cNvSpPr/>
            <p:nvPr/>
          </p:nvSpPr>
          <p:spPr>
            <a:xfrm>
              <a:off x="4541968" y="2262242"/>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2" name="Title 1"/>
          <p:cNvSpPr>
            <a:spLocks noGrp="1"/>
          </p:cNvSpPr>
          <p:nvPr>
            <p:ph type="title"/>
          </p:nvPr>
        </p:nvSpPr>
        <p:spPr/>
        <p:txBody>
          <a:bodyPr>
            <a:normAutofit/>
          </a:bodyPr>
          <a:lstStyle/>
          <a:p>
            <a:pPr algn="ctr" rtl="1"/>
            <a:r>
              <a:rPr lang="ar-IQ" dirty="0">
                <a:cs typeface="Ali_K_Samik" pitchFamily="2" charset="-78"/>
              </a:rPr>
              <a:t>جؤرةكانى لة بيرضوونةوة</a:t>
            </a:r>
            <a:endParaRPr lang="en-GB" dirty="0">
              <a:cs typeface="Ali_K_Samik" pitchFamily="2" charset="-78"/>
            </a:endParaRPr>
          </a:p>
        </p:txBody>
      </p:sp>
      <p:sp>
        <p:nvSpPr>
          <p:cNvPr id="15" name="1"/>
          <p:cNvSpPr/>
          <p:nvPr/>
        </p:nvSpPr>
        <p:spPr>
          <a:xfrm rot="2701321">
            <a:off x="4733781" y="2757743"/>
            <a:ext cx="1621536" cy="1621536"/>
          </a:xfrm>
          <a:prstGeom prst="cub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grpSp>
        <p:nvGrpSpPr>
          <p:cNvPr id="17" name="2"/>
          <p:cNvGrpSpPr/>
          <p:nvPr/>
        </p:nvGrpSpPr>
        <p:grpSpPr>
          <a:xfrm>
            <a:off x="4109527" y="1921265"/>
            <a:ext cx="2475427" cy="3320996"/>
            <a:chOff x="3743753" y="1518612"/>
            <a:chExt cx="1856570" cy="2490747"/>
          </a:xfrm>
          <a:solidFill>
            <a:schemeClr val="accent6">
              <a:lumMod val="50000"/>
            </a:schemeClr>
          </a:solidFill>
          <a:effectLst>
            <a:outerShdw blurRad="152400" dist="889000" dir="5400000" sx="90000" sy="-19000" rotWithShape="0">
              <a:prstClr val="black">
                <a:alpha val="15000"/>
              </a:prstClr>
            </a:outerShdw>
          </a:effectLst>
        </p:grpSpPr>
        <p:sp>
          <p:nvSpPr>
            <p:cNvPr id="12" name="Cube 11"/>
            <p:cNvSpPr/>
            <p:nvPr/>
          </p:nvSpPr>
          <p:spPr>
            <a:xfrm rot="2701321">
              <a:off x="3743753" y="2152297"/>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Cube 12"/>
            <p:cNvSpPr/>
            <p:nvPr/>
          </p:nvSpPr>
          <p:spPr>
            <a:xfrm rot="2701321">
              <a:off x="4384171" y="2793207"/>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 name="Cube 13"/>
            <p:cNvSpPr/>
            <p:nvPr/>
          </p:nvSpPr>
          <p:spPr>
            <a:xfrm rot="2701321">
              <a:off x="4377925" y="1518612"/>
              <a:ext cx="1216152" cy="1216152"/>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40" name="4"/>
          <p:cNvSpPr/>
          <p:nvPr/>
        </p:nvSpPr>
        <p:spPr>
          <a:xfrm rot="2701321">
            <a:off x="5835479" y="2813759"/>
            <a:ext cx="1621536" cy="1621536"/>
          </a:xfrm>
          <a:prstGeom prst="cub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41" name="TextBox 40"/>
          <p:cNvSpPr txBox="1"/>
          <p:nvPr/>
        </p:nvSpPr>
        <p:spPr>
          <a:xfrm>
            <a:off x="8050169" y="3318561"/>
            <a:ext cx="4105877" cy="861770"/>
          </a:xfrm>
          <a:prstGeom prst="rect">
            <a:avLst/>
          </a:prstGeom>
          <a:noFill/>
        </p:spPr>
        <p:txBody>
          <a:bodyPr wrap="square" lIns="121917" tIns="60958" rIns="121917" bIns="60958" rtlCol="0">
            <a:spAutoFit/>
          </a:bodyPr>
          <a:lstStyle/>
          <a:p>
            <a:pPr algn="ctr" rtl="1"/>
            <a:r>
              <a:rPr lang="ar-IQ" sz="2400" dirty="0">
                <a:solidFill>
                  <a:srgbClr val="C00000"/>
                </a:solidFill>
                <a:cs typeface="Ali_K_Samik" pitchFamily="2" charset="-78"/>
              </a:rPr>
              <a:t>سةرنةكةوتن لة طةرِاندنةوة</a:t>
            </a:r>
          </a:p>
          <a:p>
            <a:pPr algn="ctr" rtl="1"/>
            <a:r>
              <a:rPr lang="en-GB" sz="2400" dirty="0">
                <a:solidFill>
                  <a:srgbClr val="C00000"/>
                </a:solidFill>
                <a:cs typeface="Ali_K_Samik" pitchFamily="2" charset="-78"/>
              </a:rPr>
              <a:t>Retrieval Failure</a:t>
            </a:r>
            <a:endParaRPr lang="ar-IQ" sz="2400" dirty="0">
              <a:solidFill>
                <a:srgbClr val="C00000"/>
              </a:solidFill>
              <a:cs typeface="Ali_K_Samik" pitchFamily="2" charset="-78"/>
            </a:endParaRPr>
          </a:p>
        </p:txBody>
      </p:sp>
      <p:sp>
        <p:nvSpPr>
          <p:cNvPr id="43" name="TextBox 42"/>
          <p:cNvSpPr txBox="1"/>
          <p:nvPr/>
        </p:nvSpPr>
        <p:spPr>
          <a:xfrm>
            <a:off x="119599" y="3238571"/>
            <a:ext cx="3721897" cy="861770"/>
          </a:xfrm>
          <a:prstGeom prst="rect">
            <a:avLst/>
          </a:prstGeom>
          <a:noFill/>
        </p:spPr>
        <p:txBody>
          <a:bodyPr wrap="square" lIns="121917" tIns="60958" rIns="121917" bIns="60958" rtlCol="0">
            <a:spAutoFit/>
          </a:bodyPr>
          <a:lstStyle/>
          <a:p>
            <a:pPr algn="ctr"/>
            <a:r>
              <a:rPr lang="ar-IQ" sz="2400" dirty="0">
                <a:solidFill>
                  <a:schemeClr val="accent6">
                    <a:lumMod val="50000"/>
                  </a:schemeClr>
                </a:solidFill>
                <a:cs typeface="Ali_K_Samik" pitchFamily="2" charset="-78"/>
              </a:rPr>
              <a:t>سةرنةكةوتن لة كؤد كردن</a:t>
            </a:r>
          </a:p>
          <a:p>
            <a:pPr algn="ctr"/>
            <a:r>
              <a:rPr lang="en-GB" sz="2400" dirty="0">
                <a:solidFill>
                  <a:schemeClr val="accent6">
                    <a:lumMod val="50000"/>
                  </a:schemeClr>
                </a:solidFill>
                <a:cs typeface="Ali_K_Samik" pitchFamily="2" charset="-78"/>
              </a:rPr>
              <a:t>Encoding Failure</a:t>
            </a:r>
            <a:endParaRPr lang="ar-IQ" sz="2400" dirty="0">
              <a:solidFill>
                <a:schemeClr val="accent6">
                  <a:lumMod val="50000"/>
                </a:schemeClr>
              </a:solidFill>
              <a:cs typeface="Ali_K_Samik" pitchFamily="2" charset="-78"/>
            </a:endParaRPr>
          </a:p>
        </p:txBody>
      </p:sp>
      <p:sp>
        <p:nvSpPr>
          <p:cNvPr id="18" name="TextBox 17">
            <a:extLst>
              <a:ext uri="{FF2B5EF4-FFF2-40B4-BE49-F238E27FC236}">
                <a16:creationId xmlns:a16="http://schemas.microsoft.com/office/drawing/2014/main" id="{36B01A90-6B5D-4836-B29A-BE0E97860995}"/>
              </a:ext>
            </a:extLst>
          </p:cNvPr>
          <p:cNvSpPr txBox="1"/>
          <p:nvPr/>
        </p:nvSpPr>
        <p:spPr>
          <a:xfrm>
            <a:off x="7744778" y="4272501"/>
            <a:ext cx="4325677" cy="707886"/>
          </a:xfrm>
          <a:prstGeom prst="rect">
            <a:avLst/>
          </a:prstGeom>
          <a:noFill/>
        </p:spPr>
        <p:txBody>
          <a:bodyPr wrap="square">
            <a:spAutoFit/>
          </a:bodyPr>
          <a:lstStyle/>
          <a:p>
            <a:pPr algn="r"/>
            <a:r>
              <a:rPr lang="ar-IQ" sz="2000" kern="0" dirty="0">
                <a:solidFill>
                  <a:srgbClr val="000000"/>
                </a:solidFill>
                <a:latin typeface="Calibri" panose="020F0502020204030204" pitchFamily="34" charset="0"/>
                <a:cs typeface="Ali_K_Alwand" pitchFamily="2" charset="-78"/>
              </a:rPr>
              <a:t>ئاماذةية بؤ سةرنةكةوتنى تاك لة طةرِاندنةوةى ئةو  زانياريانةى كة فيَرى بوة لة ناو يادطاى دريَذخايةن.</a:t>
            </a:r>
          </a:p>
        </p:txBody>
      </p:sp>
      <p:sp>
        <p:nvSpPr>
          <p:cNvPr id="21" name="TextBox 20">
            <a:extLst>
              <a:ext uri="{FF2B5EF4-FFF2-40B4-BE49-F238E27FC236}">
                <a16:creationId xmlns:a16="http://schemas.microsoft.com/office/drawing/2014/main" id="{A81076AC-8CEB-4895-B65A-6A751E1BFF68}"/>
              </a:ext>
            </a:extLst>
          </p:cNvPr>
          <p:cNvSpPr txBox="1"/>
          <p:nvPr/>
        </p:nvSpPr>
        <p:spPr>
          <a:xfrm>
            <a:off x="8257" y="4100765"/>
            <a:ext cx="4247177" cy="1477328"/>
          </a:xfrm>
          <a:prstGeom prst="rect">
            <a:avLst/>
          </a:prstGeom>
          <a:noFill/>
        </p:spPr>
        <p:txBody>
          <a:bodyPr wrap="square">
            <a:spAutoFit/>
          </a:bodyPr>
          <a:lstStyle/>
          <a:p>
            <a:pPr algn="r" rtl="1"/>
            <a:r>
              <a:rPr lang="ar-IQ" sz="1800" kern="0" dirty="0">
                <a:solidFill>
                  <a:srgbClr val="000000"/>
                </a:solidFill>
                <a:latin typeface="Calibri" panose="020F0502020204030204" pitchFamily="34" charset="0"/>
                <a:cs typeface="Ali_K_Alwand" pitchFamily="2" charset="-78"/>
              </a:rPr>
              <a:t>لةم جؤرة دا هؤكارى لة بيرضوونةوة لاوازى يا سةرنةكةوتنة لة كؤد كردنى ئةو زانياريانةى كة ثيَشتر تاك وةرى طرتوون، بة هؤى بةئاطايي يا بارى دةروونى تاك، بة دةرئةنجام نةطةيشتوة بة يادطاى دريَذ خايةن تا بتوانرىَ بة بيربهيَنريَتةوة.</a:t>
            </a:r>
          </a:p>
        </p:txBody>
      </p:sp>
    </p:spTree>
    <p:custDataLst>
      <p:tags r:id="rId1"/>
    </p:custDataLst>
    <p:extLst>
      <p:ext uri="{BB962C8B-B14F-4D97-AF65-F5344CB8AC3E}">
        <p14:creationId xmlns:p14="http://schemas.microsoft.com/office/powerpoint/2010/main" val="2980064267"/>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decel="100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additive="base">
                                        <p:cTn id="12" dur="500" fill="hold"/>
                                        <p:tgtEl>
                                          <p:spTgt spid="17"/>
                                        </p:tgtEl>
                                        <p:attrNameLst>
                                          <p:attrName>ppt_x</p:attrName>
                                        </p:attrNameLst>
                                      </p:cBhvr>
                                      <p:tavLst>
                                        <p:tav tm="0">
                                          <p:val>
                                            <p:strVal val="0-#ppt_w/2"/>
                                          </p:val>
                                        </p:tav>
                                        <p:tav tm="100000">
                                          <p:val>
                                            <p:strVal val="#ppt_x"/>
                                          </p:val>
                                        </p:tav>
                                      </p:tavLst>
                                    </p:anim>
                                    <p:anim calcmode="lin" valueType="num">
                                      <p:cBhvr additive="base">
                                        <p:cTn id="13" dur="500" fill="hold"/>
                                        <p:tgtEl>
                                          <p:spTgt spid="17"/>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nodeType="afterEffect">
                                  <p:stCondLst>
                                    <p:cond delay="1000"/>
                                  </p:stCondLst>
                                  <p:childTnLst>
                                    <p:set>
                                      <p:cBhvr>
                                        <p:cTn id="16" dur="1" fill="hold">
                                          <p:stCondLst>
                                            <p:cond delay="0"/>
                                          </p:stCondLst>
                                        </p:cTn>
                                        <p:tgtEl>
                                          <p:spTgt spid="38"/>
                                        </p:tgtEl>
                                        <p:attrNameLst>
                                          <p:attrName>style.visibility</p:attrName>
                                        </p:attrNameLst>
                                      </p:cBhvr>
                                      <p:to>
                                        <p:strVal val="visible"/>
                                      </p:to>
                                    </p:set>
                                    <p:anim calcmode="lin" valueType="num">
                                      <p:cBhvr additive="base">
                                        <p:cTn id="17" dur="500" fill="hold"/>
                                        <p:tgtEl>
                                          <p:spTgt spid="38"/>
                                        </p:tgtEl>
                                        <p:attrNameLst>
                                          <p:attrName>ppt_x</p:attrName>
                                        </p:attrNameLst>
                                      </p:cBhvr>
                                      <p:tavLst>
                                        <p:tav tm="0">
                                          <p:val>
                                            <p:strVal val="1+#ppt_w/2"/>
                                          </p:val>
                                        </p:tav>
                                        <p:tav tm="100000">
                                          <p:val>
                                            <p:strVal val="#ppt_x"/>
                                          </p:val>
                                        </p:tav>
                                      </p:tavLst>
                                    </p:anim>
                                    <p:anim calcmode="lin" valueType="num">
                                      <p:cBhvr additive="base">
                                        <p:cTn id="18" dur="500" fill="hold"/>
                                        <p:tgtEl>
                                          <p:spTgt spid="38"/>
                                        </p:tgtEl>
                                        <p:attrNameLst>
                                          <p:attrName>ppt_y</p:attrName>
                                        </p:attrNameLst>
                                      </p:cBhvr>
                                      <p:tavLst>
                                        <p:tav tm="0">
                                          <p:val>
                                            <p:strVal val="#ppt_y"/>
                                          </p:val>
                                        </p:tav>
                                        <p:tav tm="100000">
                                          <p:val>
                                            <p:strVal val="#ppt_y"/>
                                          </p:val>
                                        </p:tav>
                                      </p:tavLst>
                                    </p:anim>
                                  </p:childTnLst>
                                </p:cTn>
                              </p:par>
                            </p:childTnLst>
                          </p:cTn>
                        </p:par>
                        <p:par>
                          <p:cTn id="19" fill="hold">
                            <p:stCondLst>
                              <p:cond delay="2500"/>
                            </p:stCondLst>
                            <p:childTnLst>
                              <p:par>
                                <p:cTn id="20" presetID="2" presetClass="entr" presetSubtype="8" decel="100000" fill="hold" grpId="0" nodeType="afterEffect">
                                  <p:stCondLst>
                                    <p:cond delay="500"/>
                                  </p:stCondLst>
                                  <p:childTnLst>
                                    <p:set>
                                      <p:cBhvr>
                                        <p:cTn id="21" dur="1" fill="hold">
                                          <p:stCondLst>
                                            <p:cond delay="0"/>
                                          </p:stCondLst>
                                        </p:cTn>
                                        <p:tgtEl>
                                          <p:spTgt spid="40"/>
                                        </p:tgtEl>
                                        <p:attrNameLst>
                                          <p:attrName>style.visibility</p:attrName>
                                        </p:attrNameLst>
                                      </p:cBhvr>
                                      <p:to>
                                        <p:strVal val="visible"/>
                                      </p:to>
                                    </p:set>
                                    <p:anim calcmode="lin" valueType="num">
                                      <p:cBhvr additive="base">
                                        <p:cTn id="22" dur="500" fill="hold"/>
                                        <p:tgtEl>
                                          <p:spTgt spid="40"/>
                                        </p:tgtEl>
                                        <p:attrNameLst>
                                          <p:attrName>ppt_x</p:attrName>
                                        </p:attrNameLst>
                                      </p:cBhvr>
                                      <p:tavLst>
                                        <p:tav tm="0">
                                          <p:val>
                                            <p:strVal val="0-#ppt_w/2"/>
                                          </p:val>
                                        </p:tav>
                                        <p:tav tm="100000">
                                          <p:val>
                                            <p:strVal val="#ppt_x"/>
                                          </p:val>
                                        </p:tav>
                                      </p:tavLst>
                                    </p:anim>
                                    <p:anim calcmode="lin" valueType="num">
                                      <p:cBhvr additive="base">
                                        <p:cTn id="23" dur="5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31" presetClass="entr" presetSubtype="0" fill="hold" grpId="0" nodeType="clickEffect">
                                  <p:stCondLst>
                                    <p:cond delay="0"/>
                                  </p:stCondLst>
                                  <p:childTnLst>
                                    <p:set>
                                      <p:cBhvr>
                                        <p:cTn id="27" dur="1" fill="hold">
                                          <p:stCondLst>
                                            <p:cond delay="0"/>
                                          </p:stCondLst>
                                        </p:cTn>
                                        <p:tgtEl>
                                          <p:spTgt spid="41"/>
                                        </p:tgtEl>
                                        <p:attrNameLst>
                                          <p:attrName>style.visibility</p:attrName>
                                        </p:attrNameLst>
                                      </p:cBhvr>
                                      <p:to>
                                        <p:strVal val="visible"/>
                                      </p:to>
                                    </p:set>
                                    <p:anim calcmode="lin" valueType="num">
                                      <p:cBhvr>
                                        <p:cTn id="28" dur="1000" fill="hold"/>
                                        <p:tgtEl>
                                          <p:spTgt spid="41"/>
                                        </p:tgtEl>
                                        <p:attrNameLst>
                                          <p:attrName>ppt_w</p:attrName>
                                        </p:attrNameLst>
                                      </p:cBhvr>
                                      <p:tavLst>
                                        <p:tav tm="0">
                                          <p:val>
                                            <p:fltVal val="0"/>
                                          </p:val>
                                        </p:tav>
                                        <p:tav tm="100000">
                                          <p:val>
                                            <p:strVal val="#ppt_w"/>
                                          </p:val>
                                        </p:tav>
                                      </p:tavLst>
                                    </p:anim>
                                    <p:anim calcmode="lin" valueType="num">
                                      <p:cBhvr>
                                        <p:cTn id="29" dur="1000" fill="hold"/>
                                        <p:tgtEl>
                                          <p:spTgt spid="41"/>
                                        </p:tgtEl>
                                        <p:attrNameLst>
                                          <p:attrName>ppt_h</p:attrName>
                                        </p:attrNameLst>
                                      </p:cBhvr>
                                      <p:tavLst>
                                        <p:tav tm="0">
                                          <p:val>
                                            <p:fltVal val="0"/>
                                          </p:val>
                                        </p:tav>
                                        <p:tav tm="100000">
                                          <p:val>
                                            <p:strVal val="#ppt_h"/>
                                          </p:val>
                                        </p:tav>
                                      </p:tavLst>
                                    </p:anim>
                                    <p:anim calcmode="lin" valueType="num">
                                      <p:cBhvr>
                                        <p:cTn id="30" dur="1000" fill="hold"/>
                                        <p:tgtEl>
                                          <p:spTgt spid="41"/>
                                        </p:tgtEl>
                                        <p:attrNameLst>
                                          <p:attrName>style.rotation</p:attrName>
                                        </p:attrNameLst>
                                      </p:cBhvr>
                                      <p:tavLst>
                                        <p:tav tm="0">
                                          <p:val>
                                            <p:fltVal val="90"/>
                                          </p:val>
                                        </p:tav>
                                        <p:tav tm="100000">
                                          <p:val>
                                            <p:fltVal val="0"/>
                                          </p:val>
                                        </p:tav>
                                      </p:tavLst>
                                    </p:anim>
                                    <p:animEffect transition="in" filter="fade">
                                      <p:cBhvr>
                                        <p:cTn id="31" dur="1000"/>
                                        <p:tgtEl>
                                          <p:spTgt spid="41"/>
                                        </p:tgtEl>
                                      </p:cBhvr>
                                    </p:animEffect>
                                  </p:childTnLst>
                                </p:cTn>
                              </p:par>
                            </p:childTnLst>
                          </p:cTn>
                        </p:par>
                      </p:childTnLst>
                    </p:cTn>
                  </p:par>
                  <p:par>
                    <p:cTn id="32" fill="hold">
                      <p:stCondLst>
                        <p:cond delay="indefinite"/>
                      </p:stCondLst>
                      <p:childTnLst>
                        <p:par>
                          <p:cTn id="33" fill="hold">
                            <p:stCondLst>
                              <p:cond delay="0"/>
                            </p:stCondLst>
                            <p:childTnLst>
                              <p:par>
                                <p:cTn id="34" presetID="26" presetClass="entr" presetSubtype="0" fill="hold" grpId="0" nodeType="clickEffect">
                                  <p:stCondLst>
                                    <p:cond delay="0"/>
                                  </p:stCondLst>
                                  <p:childTnLst>
                                    <p:set>
                                      <p:cBhvr>
                                        <p:cTn id="35" dur="1" fill="hold">
                                          <p:stCondLst>
                                            <p:cond delay="0"/>
                                          </p:stCondLst>
                                        </p:cTn>
                                        <p:tgtEl>
                                          <p:spTgt spid="43"/>
                                        </p:tgtEl>
                                        <p:attrNameLst>
                                          <p:attrName>style.visibility</p:attrName>
                                        </p:attrNameLst>
                                      </p:cBhvr>
                                      <p:to>
                                        <p:strVal val="visible"/>
                                      </p:to>
                                    </p:set>
                                    <p:animEffect transition="in" filter="wipe(down)">
                                      <p:cBhvr>
                                        <p:cTn id="36" dur="580">
                                          <p:stCondLst>
                                            <p:cond delay="0"/>
                                          </p:stCondLst>
                                        </p:cTn>
                                        <p:tgtEl>
                                          <p:spTgt spid="43"/>
                                        </p:tgtEl>
                                      </p:cBhvr>
                                    </p:animEffect>
                                    <p:anim calcmode="lin" valueType="num">
                                      <p:cBhvr>
                                        <p:cTn id="37" dur="1822" tmFilter="0,0; 0.14,0.36; 0.43,0.73; 0.71,0.91; 1.0,1.0">
                                          <p:stCondLst>
                                            <p:cond delay="0"/>
                                          </p:stCondLst>
                                        </p:cTn>
                                        <p:tgtEl>
                                          <p:spTgt spid="43"/>
                                        </p:tgtEl>
                                        <p:attrNameLst>
                                          <p:attrName>ppt_x</p:attrName>
                                        </p:attrNameLst>
                                      </p:cBhvr>
                                      <p:tavLst>
                                        <p:tav tm="0">
                                          <p:val>
                                            <p:strVal val="#ppt_x-0.25"/>
                                          </p:val>
                                        </p:tav>
                                        <p:tav tm="100000">
                                          <p:val>
                                            <p:strVal val="#ppt_x"/>
                                          </p:val>
                                        </p:tav>
                                      </p:tavLst>
                                    </p:anim>
                                    <p:anim calcmode="lin" valueType="num">
                                      <p:cBhvr>
                                        <p:cTn id="38" dur="664" tmFilter="0.0,0.0; 0.25,0.07; 0.50,0.2; 0.75,0.467; 1.0,1.0">
                                          <p:stCondLst>
                                            <p:cond delay="0"/>
                                          </p:stCondLst>
                                        </p:cTn>
                                        <p:tgtEl>
                                          <p:spTgt spid="43"/>
                                        </p:tgtEl>
                                        <p:attrNameLst>
                                          <p:attrName>ppt_y</p:attrName>
                                        </p:attrNameLst>
                                      </p:cBhvr>
                                      <p:tavLst>
                                        <p:tav tm="0" fmla="#ppt_y-sin(pi*$)/3">
                                          <p:val>
                                            <p:fltVal val="0.5"/>
                                          </p:val>
                                        </p:tav>
                                        <p:tav tm="100000">
                                          <p:val>
                                            <p:fltVal val="1"/>
                                          </p:val>
                                        </p:tav>
                                      </p:tavLst>
                                    </p:anim>
                                    <p:anim calcmode="lin" valueType="num">
                                      <p:cBhvr>
                                        <p:cTn id="39" dur="664" tmFilter="0, 0; 0.125,0.2665; 0.25,0.4; 0.375,0.465; 0.5,0.5;  0.625,0.535; 0.75,0.6; 0.875,0.7335; 1,1">
                                          <p:stCondLst>
                                            <p:cond delay="664"/>
                                          </p:stCondLst>
                                        </p:cTn>
                                        <p:tgtEl>
                                          <p:spTgt spid="43"/>
                                        </p:tgtEl>
                                        <p:attrNameLst>
                                          <p:attrName>ppt_y</p:attrName>
                                        </p:attrNameLst>
                                      </p:cBhvr>
                                      <p:tavLst>
                                        <p:tav tm="0" fmla="#ppt_y-sin(pi*$)/9">
                                          <p:val>
                                            <p:fltVal val="0"/>
                                          </p:val>
                                        </p:tav>
                                        <p:tav tm="100000">
                                          <p:val>
                                            <p:fltVal val="1"/>
                                          </p:val>
                                        </p:tav>
                                      </p:tavLst>
                                    </p:anim>
                                    <p:anim calcmode="lin" valueType="num">
                                      <p:cBhvr>
                                        <p:cTn id="40" dur="332" tmFilter="0, 0; 0.125,0.2665; 0.25,0.4; 0.375,0.465; 0.5,0.5;  0.625,0.535; 0.75,0.6; 0.875,0.7335; 1,1">
                                          <p:stCondLst>
                                            <p:cond delay="1324"/>
                                          </p:stCondLst>
                                        </p:cTn>
                                        <p:tgtEl>
                                          <p:spTgt spid="43"/>
                                        </p:tgtEl>
                                        <p:attrNameLst>
                                          <p:attrName>ppt_y</p:attrName>
                                        </p:attrNameLst>
                                      </p:cBhvr>
                                      <p:tavLst>
                                        <p:tav tm="0" fmla="#ppt_y-sin(pi*$)/27">
                                          <p:val>
                                            <p:fltVal val="0"/>
                                          </p:val>
                                        </p:tav>
                                        <p:tav tm="100000">
                                          <p:val>
                                            <p:fltVal val="1"/>
                                          </p:val>
                                        </p:tav>
                                      </p:tavLst>
                                    </p:anim>
                                    <p:anim calcmode="lin" valueType="num">
                                      <p:cBhvr>
                                        <p:cTn id="41" dur="164" tmFilter="0, 0; 0.125,0.2665; 0.25,0.4; 0.375,0.465; 0.5,0.5;  0.625,0.535; 0.75,0.6; 0.875,0.7335; 1,1">
                                          <p:stCondLst>
                                            <p:cond delay="1656"/>
                                          </p:stCondLst>
                                        </p:cTn>
                                        <p:tgtEl>
                                          <p:spTgt spid="43"/>
                                        </p:tgtEl>
                                        <p:attrNameLst>
                                          <p:attrName>ppt_y</p:attrName>
                                        </p:attrNameLst>
                                      </p:cBhvr>
                                      <p:tavLst>
                                        <p:tav tm="0" fmla="#ppt_y-sin(pi*$)/81">
                                          <p:val>
                                            <p:fltVal val="0"/>
                                          </p:val>
                                        </p:tav>
                                        <p:tav tm="100000">
                                          <p:val>
                                            <p:fltVal val="1"/>
                                          </p:val>
                                        </p:tav>
                                      </p:tavLst>
                                    </p:anim>
                                    <p:animScale>
                                      <p:cBhvr>
                                        <p:cTn id="42" dur="26">
                                          <p:stCondLst>
                                            <p:cond delay="650"/>
                                          </p:stCondLst>
                                        </p:cTn>
                                        <p:tgtEl>
                                          <p:spTgt spid="43"/>
                                        </p:tgtEl>
                                      </p:cBhvr>
                                      <p:to x="100000" y="60000"/>
                                    </p:animScale>
                                    <p:animScale>
                                      <p:cBhvr>
                                        <p:cTn id="43" dur="166" decel="50000">
                                          <p:stCondLst>
                                            <p:cond delay="676"/>
                                          </p:stCondLst>
                                        </p:cTn>
                                        <p:tgtEl>
                                          <p:spTgt spid="43"/>
                                        </p:tgtEl>
                                      </p:cBhvr>
                                      <p:to x="100000" y="100000"/>
                                    </p:animScale>
                                    <p:animScale>
                                      <p:cBhvr>
                                        <p:cTn id="44" dur="26">
                                          <p:stCondLst>
                                            <p:cond delay="1312"/>
                                          </p:stCondLst>
                                        </p:cTn>
                                        <p:tgtEl>
                                          <p:spTgt spid="43"/>
                                        </p:tgtEl>
                                      </p:cBhvr>
                                      <p:to x="100000" y="80000"/>
                                    </p:animScale>
                                    <p:animScale>
                                      <p:cBhvr>
                                        <p:cTn id="45" dur="166" decel="50000">
                                          <p:stCondLst>
                                            <p:cond delay="1338"/>
                                          </p:stCondLst>
                                        </p:cTn>
                                        <p:tgtEl>
                                          <p:spTgt spid="43"/>
                                        </p:tgtEl>
                                      </p:cBhvr>
                                      <p:to x="100000" y="100000"/>
                                    </p:animScale>
                                    <p:animScale>
                                      <p:cBhvr>
                                        <p:cTn id="46" dur="26">
                                          <p:stCondLst>
                                            <p:cond delay="1642"/>
                                          </p:stCondLst>
                                        </p:cTn>
                                        <p:tgtEl>
                                          <p:spTgt spid="43"/>
                                        </p:tgtEl>
                                      </p:cBhvr>
                                      <p:to x="100000" y="90000"/>
                                    </p:animScale>
                                    <p:animScale>
                                      <p:cBhvr>
                                        <p:cTn id="47" dur="166" decel="50000">
                                          <p:stCondLst>
                                            <p:cond delay="1668"/>
                                          </p:stCondLst>
                                        </p:cTn>
                                        <p:tgtEl>
                                          <p:spTgt spid="43"/>
                                        </p:tgtEl>
                                      </p:cBhvr>
                                      <p:to x="100000" y="100000"/>
                                    </p:animScale>
                                    <p:animScale>
                                      <p:cBhvr>
                                        <p:cTn id="48" dur="26">
                                          <p:stCondLst>
                                            <p:cond delay="1808"/>
                                          </p:stCondLst>
                                        </p:cTn>
                                        <p:tgtEl>
                                          <p:spTgt spid="43"/>
                                        </p:tgtEl>
                                      </p:cBhvr>
                                      <p:to x="100000" y="95000"/>
                                    </p:animScale>
                                    <p:animScale>
                                      <p:cBhvr>
                                        <p:cTn id="49" dur="166" decel="50000">
                                          <p:stCondLst>
                                            <p:cond delay="1834"/>
                                          </p:stCondLst>
                                        </p:cTn>
                                        <p:tgtEl>
                                          <p:spTgt spid="43"/>
                                        </p:tgtEl>
                                      </p:cBhvr>
                                      <p:to x="100000" y="100000"/>
                                    </p:animScale>
                                  </p:childTnLst>
                                </p:cTn>
                              </p:par>
                            </p:childTnLst>
                          </p:cTn>
                        </p:par>
                      </p:childTnLst>
                    </p:cTn>
                  </p:par>
                  <p:par>
                    <p:cTn id="50" fill="hold">
                      <p:stCondLst>
                        <p:cond delay="indefinite"/>
                      </p:stCondLst>
                      <p:childTnLst>
                        <p:par>
                          <p:cTn id="51" fill="hold">
                            <p:stCondLst>
                              <p:cond delay="0"/>
                            </p:stCondLst>
                            <p:childTnLst>
                              <p:par>
                                <p:cTn id="52" presetID="26" presetClass="entr" presetSubtype="0" fill="hold" grpId="0" nodeType="click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down)">
                                      <p:cBhvr>
                                        <p:cTn id="54" dur="580">
                                          <p:stCondLst>
                                            <p:cond delay="0"/>
                                          </p:stCondLst>
                                        </p:cTn>
                                        <p:tgtEl>
                                          <p:spTgt spid="18"/>
                                        </p:tgtEl>
                                      </p:cBhvr>
                                    </p:animEffect>
                                    <p:anim calcmode="lin" valueType="num">
                                      <p:cBhvr>
                                        <p:cTn id="55" dur="1822" tmFilter="0,0; 0.14,0.36; 0.43,0.73; 0.71,0.91; 1.0,1.0">
                                          <p:stCondLst>
                                            <p:cond delay="0"/>
                                          </p:stCondLst>
                                        </p:cTn>
                                        <p:tgtEl>
                                          <p:spTgt spid="18"/>
                                        </p:tgtEl>
                                        <p:attrNameLst>
                                          <p:attrName>ppt_x</p:attrName>
                                        </p:attrNameLst>
                                      </p:cBhvr>
                                      <p:tavLst>
                                        <p:tav tm="0">
                                          <p:val>
                                            <p:strVal val="#ppt_x-0.25"/>
                                          </p:val>
                                        </p:tav>
                                        <p:tav tm="100000">
                                          <p:val>
                                            <p:strVal val="#ppt_x"/>
                                          </p:val>
                                        </p:tav>
                                      </p:tavLst>
                                    </p:anim>
                                    <p:anim calcmode="lin" valueType="num">
                                      <p:cBhvr>
                                        <p:cTn id="56" dur="664" tmFilter="0.0,0.0; 0.25,0.07; 0.50,0.2; 0.75,0.467; 1.0,1.0">
                                          <p:stCondLst>
                                            <p:cond delay="0"/>
                                          </p:stCondLst>
                                        </p:cTn>
                                        <p:tgtEl>
                                          <p:spTgt spid="18"/>
                                        </p:tgtEl>
                                        <p:attrNameLst>
                                          <p:attrName>ppt_y</p:attrName>
                                        </p:attrNameLst>
                                      </p:cBhvr>
                                      <p:tavLst>
                                        <p:tav tm="0" fmla="#ppt_y-sin(pi*$)/3">
                                          <p:val>
                                            <p:fltVal val="0.5"/>
                                          </p:val>
                                        </p:tav>
                                        <p:tav tm="100000">
                                          <p:val>
                                            <p:fltVal val="1"/>
                                          </p:val>
                                        </p:tav>
                                      </p:tavLst>
                                    </p:anim>
                                    <p:anim calcmode="lin" valueType="num">
                                      <p:cBhvr>
                                        <p:cTn id="57" dur="664" tmFilter="0, 0; 0.125,0.2665; 0.25,0.4; 0.375,0.465; 0.5,0.5;  0.625,0.535; 0.75,0.6; 0.875,0.7335; 1,1">
                                          <p:stCondLst>
                                            <p:cond delay="664"/>
                                          </p:stCondLst>
                                        </p:cTn>
                                        <p:tgtEl>
                                          <p:spTgt spid="18"/>
                                        </p:tgtEl>
                                        <p:attrNameLst>
                                          <p:attrName>ppt_y</p:attrName>
                                        </p:attrNameLst>
                                      </p:cBhvr>
                                      <p:tavLst>
                                        <p:tav tm="0" fmla="#ppt_y-sin(pi*$)/9">
                                          <p:val>
                                            <p:fltVal val="0"/>
                                          </p:val>
                                        </p:tav>
                                        <p:tav tm="100000">
                                          <p:val>
                                            <p:fltVal val="1"/>
                                          </p:val>
                                        </p:tav>
                                      </p:tavLst>
                                    </p:anim>
                                    <p:anim calcmode="lin" valueType="num">
                                      <p:cBhvr>
                                        <p:cTn id="58" dur="332" tmFilter="0, 0; 0.125,0.2665; 0.25,0.4; 0.375,0.465; 0.5,0.5;  0.625,0.535; 0.75,0.6; 0.875,0.7335; 1,1">
                                          <p:stCondLst>
                                            <p:cond delay="1324"/>
                                          </p:stCondLst>
                                        </p:cTn>
                                        <p:tgtEl>
                                          <p:spTgt spid="18"/>
                                        </p:tgtEl>
                                        <p:attrNameLst>
                                          <p:attrName>ppt_y</p:attrName>
                                        </p:attrNameLst>
                                      </p:cBhvr>
                                      <p:tavLst>
                                        <p:tav tm="0" fmla="#ppt_y-sin(pi*$)/27">
                                          <p:val>
                                            <p:fltVal val="0"/>
                                          </p:val>
                                        </p:tav>
                                        <p:tav tm="100000">
                                          <p:val>
                                            <p:fltVal val="1"/>
                                          </p:val>
                                        </p:tav>
                                      </p:tavLst>
                                    </p:anim>
                                    <p:anim calcmode="lin" valueType="num">
                                      <p:cBhvr>
                                        <p:cTn id="59" dur="164" tmFilter="0, 0; 0.125,0.2665; 0.25,0.4; 0.375,0.465; 0.5,0.5;  0.625,0.535; 0.75,0.6; 0.875,0.7335; 1,1">
                                          <p:stCondLst>
                                            <p:cond delay="1656"/>
                                          </p:stCondLst>
                                        </p:cTn>
                                        <p:tgtEl>
                                          <p:spTgt spid="18"/>
                                        </p:tgtEl>
                                        <p:attrNameLst>
                                          <p:attrName>ppt_y</p:attrName>
                                        </p:attrNameLst>
                                      </p:cBhvr>
                                      <p:tavLst>
                                        <p:tav tm="0" fmla="#ppt_y-sin(pi*$)/81">
                                          <p:val>
                                            <p:fltVal val="0"/>
                                          </p:val>
                                        </p:tav>
                                        <p:tav tm="100000">
                                          <p:val>
                                            <p:fltVal val="1"/>
                                          </p:val>
                                        </p:tav>
                                      </p:tavLst>
                                    </p:anim>
                                    <p:animScale>
                                      <p:cBhvr>
                                        <p:cTn id="60" dur="26">
                                          <p:stCondLst>
                                            <p:cond delay="650"/>
                                          </p:stCondLst>
                                        </p:cTn>
                                        <p:tgtEl>
                                          <p:spTgt spid="18"/>
                                        </p:tgtEl>
                                      </p:cBhvr>
                                      <p:to x="100000" y="60000"/>
                                    </p:animScale>
                                    <p:animScale>
                                      <p:cBhvr>
                                        <p:cTn id="61" dur="166" decel="50000">
                                          <p:stCondLst>
                                            <p:cond delay="676"/>
                                          </p:stCondLst>
                                        </p:cTn>
                                        <p:tgtEl>
                                          <p:spTgt spid="18"/>
                                        </p:tgtEl>
                                      </p:cBhvr>
                                      <p:to x="100000" y="100000"/>
                                    </p:animScale>
                                    <p:animScale>
                                      <p:cBhvr>
                                        <p:cTn id="62" dur="26">
                                          <p:stCondLst>
                                            <p:cond delay="1312"/>
                                          </p:stCondLst>
                                        </p:cTn>
                                        <p:tgtEl>
                                          <p:spTgt spid="18"/>
                                        </p:tgtEl>
                                      </p:cBhvr>
                                      <p:to x="100000" y="80000"/>
                                    </p:animScale>
                                    <p:animScale>
                                      <p:cBhvr>
                                        <p:cTn id="63" dur="166" decel="50000">
                                          <p:stCondLst>
                                            <p:cond delay="1338"/>
                                          </p:stCondLst>
                                        </p:cTn>
                                        <p:tgtEl>
                                          <p:spTgt spid="18"/>
                                        </p:tgtEl>
                                      </p:cBhvr>
                                      <p:to x="100000" y="100000"/>
                                    </p:animScale>
                                    <p:animScale>
                                      <p:cBhvr>
                                        <p:cTn id="64" dur="26">
                                          <p:stCondLst>
                                            <p:cond delay="1642"/>
                                          </p:stCondLst>
                                        </p:cTn>
                                        <p:tgtEl>
                                          <p:spTgt spid="18"/>
                                        </p:tgtEl>
                                      </p:cBhvr>
                                      <p:to x="100000" y="90000"/>
                                    </p:animScale>
                                    <p:animScale>
                                      <p:cBhvr>
                                        <p:cTn id="65" dur="166" decel="50000">
                                          <p:stCondLst>
                                            <p:cond delay="1668"/>
                                          </p:stCondLst>
                                        </p:cTn>
                                        <p:tgtEl>
                                          <p:spTgt spid="18"/>
                                        </p:tgtEl>
                                      </p:cBhvr>
                                      <p:to x="100000" y="100000"/>
                                    </p:animScale>
                                    <p:animScale>
                                      <p:cBhvr>
                                        <p:cTn id="66" dur="26">
                                          <p:stCondLst>
                                            <p:cond delay="1808"/>
                                          </p:stCondLst>
                                        </p:cTn>
                                        <p:tgtEl>
                                          <p:spTgt spid="18"/>
                                        </p:tgtEl>
                                      </p:cBhvr>
                                      <p:to x="100000" y="95000"/>
                                    </p:animScale>
                                    <p:animScale>
                                      <p:cBhvr>
                                        <p:cTn id="67" dur="166" decel="50000">
                                          <p:stCondLst>
                                            <p:cond delay="1834"/>
                                          </p:stCondLst>
                                        </p:cTn>
                                        <p:tgtEl>
                                          <p:spTgt spid="18"/>
                                        </p:tgtEl>
                                      </p:cBhvr>
                                      <p:to x="100000" y="100000"/>
                                    </p:animScale>
                                  </p:childTnLst>
                                </p:cTn>
                              </p:par>
                            </p:childTnLst>
                          </p:cTn>
                        </p:par>
                      </p:childTnLst>
                    </p:cTn>
                  </p:par>
                  <p:par>
                    <p:cTn id="68" fill="hold">
                      <p:stCondLst>
                        <p:cond delay="indefinite"/>
                      </p:stCondLst>
                      <p:childTnLst>
                        <p:par>
                          <p:cTn id="69" fill="hold">
                            <p:stCondLst>
                              <p:cond delay="0"/>
                            </p:stCondLst>
                            <p:childTnLst>
                              <p:par>
                                <p:cTn id="70" presetID="31" presetClass="entr" presetSubtype="0" fill="hold" grpId="0" nodeType="clickEffect">
                                  <p:stCondLst>
                                    <p:cond delay="0"/>
                                  </p:stCondLst>
                                  <p:childTnLst>
                                    <p:set>
                                      <p:cBhvr>
                                        <p:cTn id="71" dur="1" fill="hold">
                                          <p:stCondLst>
                                            <p:cond delay="0"/>
                                          </p:stCondLst>
                                        </p:cTn>
                                        <p:tgtEl>
                                          <p:spTgt spid="21"/>
                                        </p:tgtEl>
                                        <p:attrNameLst>
                                          <p:attrName>style.visibility</p:attrName>
                                        </p:attrNameLst>
                                      </p:cBhvr>
                                      <p:to>
                                        <p:strVal val="visible"/>
                                      </p:to>
                                    </p:set>
                                    <p:anim calcmode="lin" valueType="num">
                                      <p:cBhvr>
                                        <p:cTn id="72" dur="1000" fill="hold"/>
                                        <p:tgtEl>
                                          <p:spTgt spid="21"/>
                                        </p:tgtEl>
                                        <p:attrNameLst>
                                          <p:attrName>ppt_w</p:attrName>
                                        </p:attrNameLst>
                                      </p:cBhvr>
                                      <p:tavLst>
                                        <p:tav tm="0">
                                          <p:val>
                                            <p:fltVal val="0"/>
                                          </p:val>
                                        </p:tav>
                                        <p:tav tm="100000">
                                          <p:val>
                                            <p:strVal val="#ppt_w"/>
                                          </p:val>
                                        </p:tav>
                                      </p:tavLst>
                                    </p:anim>
                                    <p:anim calcmode="lin" valueType="num">
                                      <p:cBhvr>
                                        <p:cTn id="73" dur="1000" fill="hold"/>
                                        <p:tgtEl>
                                          <p:spTgt spid="21"/>
                                        </p:tgtEl>
                                        <p:attrNameLst>
                                          <p:attrName>ppt_h</p:attrName>
                                        </p:attrNameLst>
                                      </p:cBhvr>
                                      <p:tavLst>
                                        <p:tav tm="0">
                                          <p:val>
                                            <p:fltVal val="0"/>
                                          </p:val>
                                        </p:tav>
                                        <p:tav tm="100000">
                                          <p:val>
                                            <p:strVal val="#ppt_h"/>
                                          </p:val>
                                        </p:tav>
                                      </p:tavLst>
                                    </p:anim>
                                    <p:anim calcmode="lin" valueType="num">
                                      <p:cBhvr>
                                        <p:cTn id="74" dur="1000" fill="hold"/>
                                        <p:tgtEl>
                                          <p:spTgt spid="21"/>
                                        </p:tgtEl>
                                        <p:attrNameLst>
                                          <p:attrName>style.rotation</p:attrName>
                                        </p:attrNameLst>
                                      </p:cBhvr>
                                      <p:tavLst>
                                        <p:tav tm="0">
                                          <p:val>
                                            <p:fltVal val="90"/>
                                          </p:val>
                                        </p:tav>
                                        <p:tav tm="100000">
                                          <p:val>
                                            <p:fltVal val="0"/>
                                          </p:val>
                                        </p:tav>
                                      </p:tavLst>
                                    </p:anim>
                                    <p:animEffect transition="in" filter="fade">
                                      <p:cBhvr>
                                        <p:cTn id="75"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0" grpId="0" animBg="1"/>
      <p:bldP spid="41" grpId="0"/>
      <p:bldP spid="43" grpId="0"/>
      <p:bldP spid="18"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5720685-F981-4DB0-A24D-EBC321F7A11C}"/>
              </a:ext>
            </a:extLst>
          </p:cNvPr>
          <p:cNvSpPr>
            <a:spLocks noGrp="1"/>
          </p:cNvSpPr>
          <p:nvPr>
            <p:ph type="title"/>
          </p:nvPr>
        </p:nvSpPr>
        <p:spPr>
          <a:xfrm>
            <a:off x="4654296" y="329184"/>
            <a:ext cx="6894576" cy="1783080"/>
          </a:xfrm>
        </p:spPr>
        <p:txBody>
          <a:bodyPr anchor="b">
            <a:normAutofit/>
          </a:bodyPr>
          <a:lstStyle/>
          <a:p>
            <a:pPr algn="ctr" rtl="1"/>
            <a:r>
              <a:rPr lang="ar-IQ" sz="4400" dirty="0">
                <a:cs typeface="Ali_K_Samik" pitchFamily="2" charset="-78"/>
              </a:rPr>
              <a:t>كات و لة بيرضوونةوة</a:t>
            </a:r>
            <a:endParaRPr lang="en-GB" sz="4400" dirty="0"/>
          </a:p>
        </p:txBody>
      </p:sp>
      <p:pic>
        <p:nvPicPr>
          <p:cNvPr id="4" name="Picture 3" descr="A person with a beard and glasses&#10;&#10;Description automatically generated with low confidence">
            <a:extLst>
              <a:ext uri="{FF2B5EF4-FFF2-40B4-BE49-F238E27FC236}">
                <a16:creationId xmlns:a16="http://schemas.microsoft.com/office/drawing/2014/main" id="{073E9131-47B6-4087-A693-5B42A1C3F1A3}"/>
              </a:ext>
            </a:extLst>
          </p:cNvPr>
          <p:cNvPicPr>
            <a:picLocks noChangeAspect="1"/>
          </p:cNvPicPr>
          <p:nvPr/>
        </p:nvPicPr>
        <p:blipFill rotWithShape="1">
          <a:blip r:embed="rId2"/>
          <a:srcRect l="16799" r="26620" b="-3"/>
          <a:stretch/>
        </p:blipFill>
        <p:spPr>
          <a:xfrm>
            <a:off x="20" y="1"/>
            <a:ext cx="4052522" cy="6858000"/>
          </a:xfrm>
          <a:custGeom>
            <a:avLst/>
            <a:gdLst/>
            <a:ahLst/>
            <a:cxnLst/>
            <a:rect l="l" t="t" r="r" b="b"/>
            <a:pathLst>
              <a:path w="4052542" h="6858000">
                <a:moveTo>
                  <a:pt x="0" y="0"/>
                </a:moveTo>
                <a:lnTo>
                  <a:pt x="4020923" y="0"/>
                </a:lnTo>
                <a:lnTo>
                  <a:pt x="4022656" y="14697"/>
                </a:lnTo>
                <a:cubicBezTo>
                  <a:pt x="4037606" y="98462"/>
                  <a:pt x="4035072" y="183369"/>
                  <a:pt x="4039126" y="267642"/>
                </a:cubicBezTo>
                <a:cubicBezTo>
                  <a:pt x="4043941" y="370699"/>
                  <a:pt x="4037860" y="474136"/>
                  <a:pt x="4035579" y="577446"/>
                </a:cubicBezTo>
                <a:cubicBezTo>
                  <a:pt x="4033805" y="665399"/>
                  <a:pt x="4025063" y="753226"/>
                  <a:pt x="4027724" y="841306"/>
                </a:cubicBezTo>
                <a:cubicBezTo>
                  <a:pt x="4027914" y="844352"/>
                  <a:pt x="4027914" y="847398"/>
                  <a:pt x="4027724" y="850444"/>
                </a:cubicBezTo>
                <a:cubicBezTo>
                  <a:pt x="4019615" y="947281"/>
                  <a:pt x="4019615" y="1044626"/>
                  <a:pt x="4027724" y="1141464"/>
                </a:cubicBezTo>
                <a:cubicBezTo>
                  <a:pt x="4030296" y="1181772"/>
                  <a:pt x="4029574" y="1222221"/>
                  <a:pt x="4025570" y="1262415"/>
                </a:cubicBezTo>
                <a:cubicBezTo>
                  <a:pt x="4021769" y="1313563"/>
                  <a:pt x="4009606" y="1365472"/>
                  <a:pt x="4018348" y="1416238"/>
                </a:cubicBezTo>
                <a:cubicBezTo>
                  <a:pt x="4024037" y="1458058"/>
                  <a:pt x="4027166" y="1500194"/>
                  <a:pt x="4027724" y="1542394"/>
                </a:cubicBezTo>
                <a:cubicBezTo>
                  <a:pt x="4032158" y="1636820"/>
                  <a:pt x="4027977" y="1731753"/>
                  <a:pt x="4026330" y="1826433"/>
                </a:cubicBezTo>
                <a:cubicBezTo>
                  <a:pt x="4024556" y="1936724"/>
                  <a:pt x="4027344" y="2047015"/>
                  <a:pt x="4018475" y="2157432"/>
                </a:cubicBezTo>
                <a:cubicBezTo>
                  <a:pt x="4013597" y="2246629"/>
                  <a:pt x="4013597" y="2336029"/>
                  <a:pt x="4018475" y="2425226"/>
                </a:cubicBezTo>
                <a:cubicBezTo>
                  <a:pt x="4020882" y="2506961"/>
                  <a:pt x="4033172" y="2587934"/>
                  <a:pt x="4031145" y="2670557"/>
                </a:cubicBezTo>
                <a:cubicBezTo>
                  <a:pt x="4028737" y="2766886"/>
                  <a:pt x="4017335" y="2862962"/>
                  <a:pt x="4020882" y="2959546"/>
                </a:cubicBezTo>
                <a:cubicBezTo>
                  <a:pt x="4022529" y="3005617"/>
                  <a:pt x="4022656" y="3051688"/>
                  <a:pt x="4023543" y="3097758"/>
                </a:cubicBezTo>
                <a:cubicBezTo>
                  <a:pt x="4024683" y="3153221"/>
                  <a:pt x="4034692" y="3208556"/>
                  <a:pt x="4029117" y="3263892"/>
                </a:cubicBezTo>
                <a:cubicBezTo>
                  <a:pt x="4019869" y="3356161"/>
                  <a:pt x="3995923" y="3446906"/>
                  <a:pt x="4010873" y="3541459"/>
                </a:cubicBezTo>
                <a:cubicBezTo>
                  <a:pt x="4019108" y="3593495"/>
                  <a:pt x="4028357" y="3645658"/>
                  <a:pt x="4033172" y="3698201"/>
                </a:cubicBezTo>
                <a:cubicBezTo>
                  <a:pt x="4037353" y="3745160"/>
                  <a:pt x="4047868" y="3792881"/>
                  <a:pt x="4039886" y="3839586"/>
                </a:cubicBezTo>
                <a:cubicBezTo>
                  <a:pt x="4033045" y="3879565"/>
                  <a:pt x="4036592" y="3919544"/>
                  <a:pt x="4031271" y="3959523"/>
                </a:cubicBezTo>
                <a:cubicBezTo>
                  <a:pt x="4024303" y="4011939"/>
                  <a:pt x="4020629" y="4065244"/>
                  <a:pt x="4015308" y="4118042"/>
                </a:cubicBezTo>
                <a:cubicBezTo>
                  <a:pt x="4010620" y="4165889"/>
                  <a:pt x="4006946" y="4213610"/>
                  <a:pt x="4019615" y="4258539"/>
                </a:cubicBezTo>
                <a:cubicBezTo>
                  <a:pt x="4050656" y="4371622"/>
                  <a:pt x="4033679" y="4484070"/>
                  <a:pt x="4022023" y="4596391"/>
                </a:cubicBezTo>
                <a:cubicBezTo>
                  <a:pt x="4016321" y="4650965"/>
                  <a:pt x="4007959" y="4708712"/>
                  <a:pt x="4020629" y="4758718"/>
                </a:cubicBezTo>
                <a:cubicBezTo>
                  <a:pt x="4043941" y="4847432"/>
                  <a:pt x="4025697" y="4931705"/>
                  <a:pt x="4015561" y="5016866"/>
                </a:cubicBezTo>
                <a:cubicBezTo>
                  <a:pt x="4003335" y="5100174"/>
                  <a:pt x="4005096" y="5184929"/>
                  <a:pt x="4020756" y="5267654"/>
                </a:cubicBezTo>
                <a:cubicBezTo>
                  <a:pt x="4033172" y="5326035"/>
                  <a:pt x="4033172" y="5385432"/>
                  <a:pt x="4034692" y="5444194"/>
                </a:cubicBezTo>
                <a:cubicBezTo>
                  <a:pt x="4035579" y="5481001"/>
                  <a:pt x="4022023" y="5518441"/>
                  <a:pt x="4013027" y="5555120"/>
                </a:cubicBezTo>
                <a:cubicBezTo>
                  <a:pt x="3996937" y="5621371"/>
                  <a:pt x="3991109" y="5688636"/>
                  <a:pt x="4013027" y="5753237"/>
                </a:cubicBezTo>
                <a:cubicBezTo>
                  <a:pt x="4043561" y="5842713"/>
                  <a:pt x="4061045" y="5932189"/>
                  <a:pt x="4048375" y="6026870"/>
                </a:cubicBezTo>
                <a:cubicBezTo>
                  <a:pt x="4041027" y="6085251"/>
                  <a:pt x="4039380" y="6144902"/>
                  <a:pt x="4028357" y="6202522"/>
                </a:cubicBezTo>
                <a:cubicBezTo>
                  <a:pt x="4010240" y="6298091"/>
                  <a:pt x="4016701" y="6393024"/>
                  <a:pt x="4031145" y="6487196"/>
                </a:cubicBezTo>
                <a:cubicBezTo>
                  <a:pt x="4041293" y="6565885"/>
                  <a:pt x="4042395" y="6645474"/>
                  <a:pt x="4034439" y="6724403"/>
                </a:cubicBezTo>
                <a:lnTo>
                  <a:pt x="4025206" y="6858000"/>
                </a:lnTo>
                <a:lnTo>
                  <a:pt x="0" y="6858000"/>
                </a:lnTo>
                <a:close/>
              </a:path>
            </a:pathLst>
          </a:custGeom>
        </p:spPr>
      </p:pic>
      <p:sp>
        <p:nvSpPr>
          <p:cNvPr id="11" name="Rectangle 6">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6" y="2395728"/>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accent1"/>
          </a:solidFill>
          <a:ln w="38100" cap="rnd">
            <a:solidFill>
              <a:schemeClr val="accent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E2D7BF5-D76C-4060-B626-A4550C6C9EA3}"/>
              </a:ext>
            </a:extLst>
          </p:cNvPr>
          <p:cNvSpPr>
            <a:spLocks noGrp="1"/>
          </p:cNvSpPr>
          <p:nvPr>
            <p:ph idx="1"/>
          </p:nvPr>
        </p:nvSpPr>
        <p:spPr>
          <a:xfrm>
            <a:off x="4654296" y="2706624"/>
            <a:ext cx="6894576" cy="1536193"/>
          </a:xfrm>
        </p:spPr>
        <p:txBody>
          <a:bodyPr>
            <a:normAutofit/>
          </a:bodyPr>
          <a:lstStyle/>
          <a:p>
            <a:pPr algn="r" rtl="1">
              <a:buFont typeface="Wingdings" panose="05000000000000000000" pitchFamily="2" charset="2"/>
              <a:buChar char="v"/>
            </a:pPr>
            <a:r>
              <a:rPr lang="ar-IQ" sz="2000" dirty="0">
                <a:cs typeface="Ali_K_Alwand" pitchFamily="2" charset="-78"/>
              </a:rPr>
              <a:t>هيرمان ئابنطهاوس </a:t>
            </a:r>
            <a:r>
              <a:rPr lang="en-GB" sz="2000" dirty="0">
                <a:latin typeface="Times New Roman" panose="02020603050405020304" pitchFamily="18" charset="0"/>
                <a:cs typeface="Times New Roman" panose="02020603050405020304" pitchFamily="18" charset="0"/>
              </a:rPr>
              <a:t>Hermann Ebbinghaus</a:t>
            </a:r>
            <a:r>
              <a:rPr lang="ar-SA" sz="2000" dirty="0">
                <a:cs typeface="Ali_K_Alwand" pitchFamily="2" charset="-78"/>
              </a:rPr>
              <a:t> 1850 – 1909 (بيرمةندى سايكؤلؤذي بةرِضةلَةك ئةلَمانى)</a:t>
            </a:r>
            <a:r>
              <a:rPr lang="ar-IQ" sz="2000" dirty="0">
                <a:cs typeface="Ali_K_Alwand" pitchFamily="2" charset="-78"/>
              </a:rPr>
              <a:t>، لة سالَى 1885توانى بة تاقيكردنةوة </a:t>
            </a:r>
            <a:r>
              <a:rPr lang="ar-IQ" sz="2400" dirty="0">
                <a:solidFill>
                  <a:srgbClr val="C00000"/>
                </a:solidFill>
                <a:latin typeface="Times New Roman" panose="02020603050405020304" pitchFamily="18" charset="0"/>
                <a:cs typeface="Ali_K_Samik" pitchFamily="2" charset="-78"/>
              </a:rPr>
              <a:t>بوونى ثةيوةندى ئةريَنى نيَوان كات و لةبيرضوونةوة بسةلميَنيَت. </a:t>
            </a:r>
          </a:p>
          <a:p>
            <a:pPr marL="0" indent="0" algn="r" rtl="1">
              <a:buNone/>
            </a:pPr>
            <a:endParaRPr lang="ar-IQ" sz="2800" dirty="0">
              <a:cs typeface="Ali_K_Alwand" pitchFamily="2" charset="-78"/>
            </a:endParaRPr>
          </a:p>
          <a:p>
            <a:endParaRPr lang="en-GB" dirty="0"/>
          </a:p>
        </p:txBody>
      </p:sp>
      <p:sp>
        <p:nvSpPr>
          <p:cNvPr id="8" name="TextBox 7">
            <a:extLst>
              <a:ext uri="{FF2B5EF4-FFF2-40B4-BE49-F238E27FC236}">
                <a16:creationId xmlns:a16="http://schemas.microsoft.com/office/drawing/2014/main" id="{B19577EF-70DE-4090-8336-5714A70D9C59}"/>
              </a:ext>
            </a:extLst>
          </p:cNvPr>
          <p:cNvSpPr txBox="1"/>
          <p:nvPr/>
        </p:nvSpPr>
        <p:spPr>
          <a:xfrm>
            <a:off x="4164037" y="4290647"/>
            <a:ext cx="7695028" cy="1231106"/>
          </a:xfrm>
          <a:prstGeom prst="rect">
            <a:avLst/>
          </a:prstGeom>
          <a:noFill/>
        </p:spPr>
        <p:txBody>
          <a:bodyPr wrap="square">
            <a:spAutoFit/>
          </a:bodyPr>
          <a:lstStyle/>
          <a:p>
            <a:pPr algn="r" rtl="1">
              <a:buFont typeface="Wingdings" panose="05000000000000000000" pitchFamily="2" charset="2"/>
              <a:buChar char="v"/>
            </a:pPr>
            <a:endParaRPr lang="ar-IQ" sz="1800" dirty="0">
              <a:cs typeface="Ali_K_Alwand" pitchFamily="2" charset="-78"/>
            </a:endParaRPr>
          </a:p>
          <a:p>
            <a:pPr marL="0" indent="0" algn="r" rtl="1">
              <a:buNone/>
            </a:pPr>
            <a:r>
              <a:rPr lang="ar-IQ" sz="1800" dirty="0">
                <a:cs typeface="Ali_K_Alwand" pitchFamily="2" charset="-78"/>
              </a:rPr>
              <a:t>                                 </a:t>
            </a:r>
            <a:r>
              <a:rPr lang="ar-IQ" dirty="0">
                <a:solidFill>
                  <a:srgbClr val="C00000"/>
                </a:solidFill>
                <a:cs typeface="Ali_K_Alwand" pitchFamily="2" charset="-78"/>
              </a:rPr>
              <a:t>دريَذى</a:t>
            </a:r>
          </a:p>
          <a:p>
            <a:pPr marL="0" indent="0" algn="r" rtl="1">
              <a:buNone/>
            </a:pPr>
            <a:r>
              <a:rPr lang="ar-IQ" sz="2000" dirty="0">
                <a:cs typeface="Ali_K_Samik" pitchFamily="2" charset="-78"/>
              </a:rPr>
              <a:t>فيَربوون                                                                 هةولَدان بؤ بةبيرهاتنةو =  لةبيرضوونةوة</a:t>
            </a:r>
          </a:p>
          <a:p>
            <a:pPr algn="r" rtl="1">
              <a:buFont typeface="Wingdings" panose="05000000000000000000" pitchFamily="2" charset="2"/>
              <a:buChar char="v"/>
            </a:pPr>
            <a:endParaRPr lang="ar-IQ" sz="1800" dirty="0">
              <a:cs typeface="Ali_K_Alwand" pitchFamily="2" charset="-78"/>
            </a:endParaRPr>
          </a:p>
        </p:txBody>
      </p:sp>
      <p:cxnSp>
        <p:nvCxnSpPr>
          <p:cNvPr id="10" name="Straight Arrow Connector 9">
            <a:extLst>
              <a:ext uri="{FF2B5EF4-FFF2-40B4-BE49-F238E27FC236}">
                <a16:creationId xmlns:a16="http://schemas.microsoft.com/office/drawing/2014/main" id="{8FDDBE99-25D5-49AE-A478-2FBC616B4162}"/>
              </a:ext>
            </a:extLst>
          </p:cNvPr>
          <p:cNvCxnSpPr>
            <a:cxnSpLocks/>
          </p:cNvCxnSpPr>
          <p:nvPr/>
        </p:nvCxnSpPr>
        <p:spPr>
          <a:xfrm flipH="1">
            <a:off x="8131126" y="5036234"/>
            <a:ext cx="289794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CD88D9E-76E2-45CC-BE9A-4AE98999F993}"/>
              </a:ext>
            </a:extLst>
          </p:cNvPr>
          <p:cNvCxnSpPr>
            <a:cxnSpLocks/>
          </p:cNvCxnSpPr>
          <p:nvPr/>
        </p:nvCxnSpPr>
        <p:spPr>
          <a:xfrm flipH="1" flipV="1">
            <a:off x="6091311" y="4332849"/>
            <a:ext cx="4689" cy="70338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962783"/>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par>
                                <p:cTn id="11" presetID="3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p:cTn id="13" dur="1000" fill="hold"/>
                                        <p:tgtEl>
                                          <p:spTgt spid="12"/>
                                        </p:tgtEl>
                                        <p:attrNameLst>
                                          <p:attrName>ppt_w</p:attrName>
                                        </p:attrNameLst>
                                      </p:cBhvr>
                                      <p:tavLst>
                                        <p:tav tm="0">
                                          <p:val>
                                            <p:fltVal val="0"/>
                                          </p:val>
                                        </p:tav>
                                        <p:tav tm="100000">
                                          <p:val>
                                            <p:strVal val="#ppt_w"/>
                                          </p:val>
                                        </p:tav>
                                      </p:tavLst>
                                    </p:anim>
                                    <p:anim calcmode="lin" valueType="num">
                                      <p:cBhvr>
                                        <p:cTn id="14" dur="1000" fill="hold"/>
                                        <p:tgtEl>
                                          <p:spTgt spid="12"/>
                                        </p:tgtEl>
                                        <p:attrNameLst>
                                          <p:attrName>ppt_h</p:attrName>
                                        </p:attrNameLst>
                                      </p:cBhvr>
                                      <p:tavLst>
                                        <p:tav tm="0">
                                          <p:val>
                                            <p:fltVal val="0"/>
                                          </p:val>
                                        </p:tav>
                                        <p:tav tm="100000">
                                          <p:val>
                                            <p:strVal val="#ppt_h"/>
                                          </p:val>
                                        </p:tav>
                                      </p:tavLst>
                                    </p:anim>
                                    <p:anim calcmode="lin" valueType="num">
                                      <p:cBhvr>
                                        <p:cTn id="15" dur="1000" fill="hold"/>
                                        <p:tgtEl>
                                          <p:spTgt spid="12"/>
                                        </p:tgtEl>
                                        <p:attrNameLst>
                                          <p:attrName>style.rotation</p:attrName>
                                        </p:attrNameLst>
                                      </p:cBhvr>
                                      <p:tavLst>
                                        <p:tav tm="0">
                                          <p:val>
                                            <p:fltVal val="90"/>
                                          </p:val>
                                        </p:tav>
                                        <p:tav tm="100000">
                                          <p:val>
                                            <p:fltVal val="0"/>
                                          </p:val>
                                        </p:tav>
                                      </p:tavLst>
                                    </p:anim>
                                    <p:animEffect transition="in" filter="fade">
                                      <p:cBhvr>
                                        <p:cTn id="16" dur="1000"/>
                                        <p:tgtEl>
                                          <p:spTgt spid="12"/>
                                        </p:tgtEl>
                                      </p:cBhvr>
                                    </p:animEffect>
                                  </p:childTnLst>
                                </p:cTn>
                              </p:par>
                              <p:par>
                                <p:cTn id="17" presetID="3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85BA31B6-A6AF-4E37-A1F0-AF2C6F0DFA3E}"/>
              </a:ext>
            </a:extLst>
          </p:cNvPr>
          <p:cNvGraphicFramePr/>
          <p:nvPr>
            <p:extLst>
              <p:ext uri="{D42A27DB-BD31-4B8C-83A1-F6EECF244321}">
                <p14:modId xmlns:p14="http://schemas.microsoft.com/office/powerpoint/2010/main" val="2424888194"/>
              </p:ext>
            </p:extLst>
          </p:nvPr>
        </p:nvGraphicFramePr>
        <p:xfrm>
          <a:off x="140677" y="140678"/>
          <a:ext cx="11873131" cy="6555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1677345"/>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A3052EA-15E7-4706-A471-54125C68E283}"/>
              </a:ext>
            </a:extLst>
          </p:cNvPr>
          <p:cNvSpPr txBox="1"/>
          <p:nvPr/>
        </p:nvSpPr>
        <p:spPr>
          <a:xfrm>
            <a:off x="3049172" y="2734380"/>
            <a:ext cx="6098344" cy="1200329"/>
          </a:xfrm>
          <a:prstGeom prst="rect">
            <a:avLst/>
          </a:prstGeom>
          <a:noFill/>
        </p:spPr>
        <p:txBody>
          <a:bodyPr wrap="square">
            <a:spAutoFit/>
          </a:bodyPr>
          <a:lstStyle/>
          <a:p>
            <a:pPr algn="ctr" rtl="1"/>
            <a:r>
              <a:rPr lang="ar-IQ" sz="7200" b="1" dirty="0">
                <a:ln w="9525">
                  <a:solidFill>
                    <a:schemeClr val="bg1"/>
                  </a:solidFill>
                  <a:prstDash val="solid"/>
                </a:ln>
                <a:effectLst>
                  <a:outerShdw blurRad="12700" dist="38100" dir="2700000" algn="tl" rotWithShape="0">
                    <a:schemeClr val="bg1">
                      <a:lumMod val="50000"/>
                    </a:schemeClr>
                  </a:outerShdw>
                </a:effectLst>
                <a:cs typeface="Ali_K_Samik" pitchFamily="2" charset="-78"/>
              </a:rPr>
              <a:t>كؤتايي</a:t>
            </a:r>
            <a:endParaRPr lang="en-GB" sz="7200" b="1" dirty="0">
              <a:ln w="9525">
                <a:solidFill>
                  <a:schemeClr val="bg1"/>
                </a:solidFill>
                <a:prstDash val="solid"/>
              </a:ln>
              <a:effectLst>
                <a:outerShdw blurRad="12700" dist="38100" dir="2700000" algn="tl" rotWithShape="0">
                  <a:schemeClr val="bg1">
                    <a:lumMod val="50000"/>
                  </a:schemeClr>
                </a:outerShdw>
              </a:effectLst>
              <a:cs typeface="Ali_K_Samik" pitchFamily="2" charset="-78"/>
            </a:endParaRPr>
          </a:p>
        </p:txBody>
      </p:sp>
    </p:spTree>
    <p:extLst>
      <p:ext uri="{BB962C8B-B14F-4D97-AF65-F5344CB8AC3E}">
        <p14:creationId xmlns:p14="http://schemas.microsoft.com/office/powerpoint/2010/main" val="1552833280"/>
      </p:ext>
    </p:extLst>
  </p:cSld>
  <p:clrMapOvr>
    <a:masterClrMapping/>
  </p:clrMapOvr>
  <mc:AlternateContent xmlns:mc="http://schemas.openxmlformats.org/markup-compatibility/2006" xmlns:p14="http://schemas.microsoft.com/office/powerpoint/2010/main">
    <mc:Choice Requires="p14">
      <p:transition spd="slow" p14:dur="1500">
        <p:newsflash/>
      </p:transition>
    </mc:Choice>
    <mc:Fallback xmlns="">
      <p:transition spd="slow">
        <p:newsflash/>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Animations_3"/>
</p:tagLst>
</file>

<file path=ppt/theme/theme1.xml><?xml version="1.0" encoding="utf-8"?>
<a:theme xmlns:a="http://schemas.openxmlformats.org/drawingml/2006/main" name="SketchyVTI">
  <a:themeElements>
    <a:clrScheme name="SketchyVTI">
      <a:dk1>
        <a:sysClr val="windowText" lastClr="000000"/>
      </a:dk1>
      <a:lt1>
        <a:sysClr val="window" lastClr="FFFFFF"/>
      </a:lt1>
      <a:dk2>
        <a:srgbClr val="39302A"/>
      </a:dk2>
      <a:lt2>
        <a:srgbClr val="E5DEDB"/>
      </a:lt2>
      <a:accent1>
        <a:srgbClr val="E4650E"/>
      </a:accent1>
      <a:accent2>
        <a:srgbClr val="00A5AB"/>
      </a:accent2>
      <a:accent3>
        <a:srgbClr val="09963B"/>
      </a:accent3>
      <a:accent4>
        <a:srgbClr val="E64823"/>
      </a:accent4>
      <a:accent5>
        <a:srgbClr val="9C6A6A"/>
      </a:accent5>
      <a:accent6>
        <a:srgbClr val="824F8C"/>
      </a:accent6>
      <a:hlink>
        <a:srgbClr val="2998E3"/>
      </a:hlink>
      <a:folHlink>
        <a:srgbClr val="7F723D"/>
      </a:folHlink>
    </a:clrScheme>
    <a:fontScheme name="Custom 2">
      <a:majorFont>
        <a:latin typeface="Modern Love"/>
        <a:ea typeface=""/>
        <a:cs typeface=""/>
      </a:majorFont>
      <a:minorFont>
        <a:latin typeface="The Ha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etchyVTI" id="{A6D2C935-A6E4-4DD9-BCC5-5AE2504DB8EA}" vid="{F0754072-50B6-4C01-B911-67246C9F58D2}"/>
    </a:ext>
  </a:extLst>
</a:theme>
</file>

<file path=docProps/app.xml><?xml version="1.0" encoding="utf-8"?>
<Properties xmlns="http://schemas.openxmlformats.org/officeDocument/2006/extended-properties" xmlns:vt="http://schemas.openxmlformats.org/officeDocument/2006/docPropsVTypes">
  <TotalTime>383</TotalTime>
  <Words>200</Words>
  <Application>Microsoft Office PowerPoint</Application>
  <PresentationFormat>Widescreen</PresentationFormat>
  <Paragraphs>33</Paragraphs>
  <Slides>7</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7</vt:i4>
      </vt:variant>
    </vt:vector>
  </HeadingPairs>
  <TitlesOfParts>
    <vt:vector size="16" baseType="lpstr">
      <vt:lpstr>Ali_K_Samik</vt:lpstr>
      <vt:lpstr>Arial</vt:lpstr>
      <vt:lpstr>Calibri</vt:lpstr>
      <vt:lpstr>Modern Love</vt:lpstr>
      <vt:lpstr>Sakkal Majalla</vt:lpstr>
      <vt:lpstr>The Hand</vt:lpstr>
      <vt:lpstr>Times New Roman</vt:lpstr>
      <vt:lpstr>Wingdings</vt:lpstr>
      <vt:lpstr>SketchyVTI</vt:lpstr>
      <vt:lpstr>بۆ چى زانيارييەكانمان لەبير دەچێتەوە؟ </vt:lpstr>
      <vt:lpstr>لة بيرضوونةوة</vt:lpstr>
      <vt:lpstr>لة بيرضوونةوة تةواوكةر</vt:lpstr>
      <vt:lpstr>جؤرةكانى لة بيرضوونةوة</vt:lpstr>
      <vt:lpstr>كات و لة بيرضوونةوة</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بؤ ضى شتةكانمان لة بير دةضيَتةوة؟ </dc:title>
  <dc:creator>Shelan Gardi</dc:creator>
  <cp:lastModifiedBy>New User</cp:lastModifiedBy>
  <cp:revision>40</cp:revision>
  <dcterms:created xsi:type="dcterms:W3CDTF">2021-04-11T14:31:27Z</dcterms:created>
  <dcterms:modified xsi:type="dcterms:W3CDTF">2023-04-04T20:01:27Z</dcterms:modified>
</cp:coreProperties>
</file>